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2" r:id="rId2"/>
    <p:sldMasterId id="2147483698" r:id="rId3"/>
    <p:sldMasterId id="2147483710" r:id="rId4"/>
  </p:sldMasterIdLst>
  <p:notesMasterIdLst>
    <p:notesMasterId r:id="rId20"/>
  </p:notesMasterIdLst>
  <p:handoutMasterIdLst>
    <p:handoutMasterId r:id="rId21"/>
  </p:handoutMasterIdLst>
  <p:sldIdLst>
    <p:sldId id="266" r:id="rId5"/>
    <p:sldId id="333" r:id="rId6"/>
    <p:sldId id="325" r:id="rId7"/>
    <p:sldId id="311" r:id="rId8"/>
    <p:sldId id="312" r:id="rId9"/>
    <p:sldId id="314" r:id="rId10"/>
    <p:sldId id="316" r:id="rId11"/>
    <p:sldId id="327" r:id="rId12"/>
    <p:sldId id="326" r:id="rId13"/>
    <p:sldId id="318" r:id="rId14"/>
    <p:sldId id="330" r:id="rId15"/>
    <p:sldId id="331" r:id="rId16"/>
    <p:sldId id="319" r:id="rId17"/>
    <p:sldId id="323" r:id="rId18"/>
    <p:sldId id="320" r:id="rId19"/>
  </p:sldIdLst>
  <p:sldSz cx="9144000" cy="6858000" type="screen4x3"/>
  <p:notesSz cx="6769100" cy="9906000"/>
  <p:defaultText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0000"/>
    <a:srgbClr val="FB723B"/>
    <a:srgbClr val="4472C4"/>
    <a:srgbClr val="FF8E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10" autoAdjust="0"/>
    <p:restoredTop sz="94637"/>
  </p:normalViewPr>
  <p:slideViewPr>
    <p:cSldViewPr snapToGrid="0">
      <p:cViewPr varScale="1">
        <p:scale>
          <a:sx n="86" d="100"/>
          <a:sy n="86" d="100"/>
        </p:scale>
        <p:origin x="917" y="58"/>
      </p:cViewPr>
      <p:guideLst>
        <p:guide orient="horz" pos="1620"/>
        <p:guide pos="2880"/>
        <p:guide orient="horz" pos="2160"/>
      </p:guideLst>
    </p:cSldViewPr>
  </p:slideViewPr>
  <p:notesTextViewPr>
    <p:cViewPr>
      <p:scale>
        <a:sx n="1" d="1"/>
        <a:sy n="1" d="1"/>
      </p:scale>
      <p:origin x="0" y="0"/>
    </p:cViewPr>
  </p:notesTextViewPr>
  <p:notesViewPr>
    <p:cSldViewPr snapToGrid="0">
      <p:cViewPr varScale="1">
        <p:scale>
          <a:sx n="85" d="100"/>
          <a:sy n="85" d="100"/>
        </p:scale>
        <p:origin x="3804"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solidFill>
                <a:srgbClr val="959B99"/>
              </a:solidFill>
              <a:ln w="19050">
                <a:noFill/>
              </a:ln>
              <a:effectLst/>
            </c:spPr>
          </c:dPt>
          <c:dPt>
            <c:idx val="1"/>
            <c:bubble3D val="0"/>
            <c:spPr>
              <a:solidFill>
                <a:srgbClr val="F6A82A"/>
              </a:solidFill>
              <a:ln w="19050">
                <a:noFill/>
              </a:ln>
              <a:effectLst/>
            </c:spPr>
          </c:dPt>
          <c:dPt>
            <c:idx val="2"/>
            <c:bubble3D val="0"/>
            <c:spPr>
              <a:solidFill>
                <a:srgbClr val="8BD8FF"/>
              </a:solidFill>
              <a:ln w="19050">
                <a:noFill/>
              </a:ln>
              <a:effectLst/>
            </c:spPr>
          </c:dPt>
          <c:dPt>
            <c:idx val="3"/>
            <c:bubble3D val="0"/>
            <c:spPr>
              <a:solidFill>
                <a:srgbClr val="0094DE"/>
              </a:solidFill>
              <a:ln w="19050">
                <a:noFill/>
              </a:ln>
              <a:effectLst/>
            </c:spPr>
          </c:dPt>
          <c:cat>
            <c:strRef>
              <c:f>Лист1!$A$2:$A$5</c:f>
              <c:strCache>
                <c:ptCount val="4"/>
                <c:pt idx="0">
                  <c:v>Кв. 1</c:v>
                </c:pt>
                <c:pt idx="1">
                  <c:v>Кв. 2</c:v>
                </c:pt>
                <c:pt idx="2">
                  <c:v>Кв. 3</c:v>
                </c:pt>
                <c:pt idx="3">
                  <c:v>Кв. 4</c:v>
                </c:pt>
              </c:strCache>
            </c:strRef>
          </c:cat>
          <c:val>
            <c:numRef>
              <c:f>Лист1!$B$2:$B$5</c:f>
              <c:numCache>
                <c:formatCode>General</c:formatCode>
                <c:ptCount val="4"/>
                <c:pt idx="0">
                  <c:v>2.8</c:v>
                </c:pt>
                <c:pt idx="1">
                  <c:v>3.4</c:v>
                </c:pt>
                <c:pt idx="2" formatCode="0.0">
                  <c:v>26.1</c:v>
                </c:pt>
                <c:pt idx="3" formatCode="0.0">
                  <c:v>67.7</c:v>
                </c:pt>
              </c:numCache>
            </c:numRef>
          </c:val>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AC081C-885C-460E-8C03-65A988C6EC34}" type="doc">
      <dgm:prSet loTypeId="urn:microsoft.com/office/officeart/2008/layout/VerticalCurvedList" loCatId="list" qsTypeId="urn:microsoft.com/office/officeart/2005/8/quickstyle/simple1" qsCatId="simple" csTypeId="urn:microsoft.com/office/officeart/2005/8/colors/accent2_1" csCatId="accent2" phldr="1"/>
      <dgm:spPr/>
      <dgm:t>
        <a:bodyPr/>
        <a:lstStyle/>
        <a:p>
          <a:endParaRPr lang="ru-RU"/>
        </a:p>
      </dgm:t>
    </dgm:pt>
    <dgm:pt modelId="{AC0D2A7B-FD2B-4419-993A-7DBF4556DF5D}">
      <dgm:prSet phldrT="[Текст]" custT="1"/>
      <dgm:spPr>
        <a:solidFill>
          <a:schemeClr val="accent1">
            <a:lumMod val="40000"/>
            <a:lumOff val="60000"/>
          </a:schemeClr>
        </a:solidFill>
        <a:ln w="3175">
          <a:solidFill>
            <a:srgbClr val="002060"/>
          </a:solidFill>
        </a:ln>
        <a:effectLst>
          <a:innerShdw blurRad="63500" dist="50800" dir="8100000">
            <a:prstClr val="black">
              <a:alpha val="50000"/>
            </a:prstClr>
          </a:innerShdw>
        </a:effectLst>
      </dgm:spPr>
      <dgm:t>
        <a:bodyPr/>
        <a:lstStyle/>
        <a:p>
          <a:r>
            <a:rPr lang="ru-RU" sz="1600" b="0" dirty="0" err="1" smtClean="0">
              <a:solidFill>
                <a:schemeClr val="tx1"/>
              </a:solidFill>
              <a:latin typeface="Arial Narrow" pitchFamily="34" charset="0"/>
              <a:cs typeface="Arial" pitchFamily="34" charset="0"/>
            </a:rPr>
            <a:t>Жергілікті</a:t>
          </a:r>
          <a:r>
            <a:rPr lang="ru-RU" sz="1600" b="0" dirty="0" smtClean="0">
              <a:solidFill>
                <a:schemeClr val="tx1"/>
              </a:solidFill>
              <a:latin typeface="Arial Narrow" pitchFamily="34" charset="0"/>
              <a:cs typeface="Arial" pitchFamily="34" charset="0"/>
            </a:rPr>
            <a:t> бюджет </a:t>
          </a:r>
          <a:r>
            <a:rPr lang="ru-RU" sz="1600" b="0" dirty="0" err="1" smtClean="0">
              <a:solidFill>
                <a:schemeClr val="tx1"/>
              </a:solidFill>
              <a:latin typeface="Arial Narrow" pitchFamily="34" charset="0"/>
              <a:cs typeface="Arial" pitchFamily="34" charset="0"/>
            </a:rPr>
            <a:t>қаражаты</a:t>
          </a:r>
          <a:r>
            <a:rPr lang="ru-RU" sz="1600" b="0" dirty="0" smtClean="0">
              <a:solidFill>
                <a:schemeClr val="tx1"/>
              </a:solidFill>
              <a:latin typeface="Arial Narrow" pitchFamily="34" charset="0"/>
              <a:cs typeface="Arial" pitchFamily="34" charset="0"/>
            </a:rPr>
            <a:t> </a:t>
          </a:r>
          <a:r>
            <a:rPr lang="ru-RU" sz="1600" b="0" dirty="0" err="1" smtClean="0">
              <a:solidFill>
                <a:schemeClr val="tx1"/>
              </a:solidFill>
              <a:latin typeface="Arial Narrow" pitchFamily="34" charset="0"/>
              <a:cs typeface="Arial" pitchFamily="34" charset="0"/>
            </a:rPr>
            <a:t>есебінен</a:t>
          </a:r>
          <a:r>
            <a:rPr lang="ru-RU" sz="1600" b="0" dirty="0" smtClean="0">
              <a:solidFill>
                <a:schemeClr val="tx1"/>
              </a:solidFill>
              <a:latin typeface="Arial Narrow" pitchFamily="34" charset="0"/>
              <a:cs typeface="Arial" pitchFamily="34" charset="0"/>
            </a:rPr>
            <a:t>  </a:t>
          </a:r>
          <a:r>
            <a:rPr lang="ru-RU" sz="1600" b="1" dirty="0" smtClean="0">
              <a:solidFill>
                <a:schemeClr val="tx1"/>
              </a:solidFill>
              <a:latin typeface="Arial Narrow" pitchFamily="34" charset="0"/>
              <a:cs typeface="Arial" pitchFamily="34" charset="0"/>
            </a:rPr>
            <a:t>БІРІҢҒАЙ СӘУЛЕТТІК КӨРІК (</a:t>
          </a:r>
          <a:r>
            <a:rPr lang="ru-RU" sz="1600" b="1" dirty="0" err="1" smtClean="0">
              <a:solidFill>
                <a:schemeClr val="tx1"/>
              </a:solidFill>
              <a:latin typeface="Arial Narrow" pitchFamily="34" charset="0"/>
              <a:cs typeface="Arial" pitchFamily="34" charset="0"/>
            </a:rPr>
            <a:t>қасбет</a:t>
          </a:r>
          <a:r>
            <a:rPr lang="ru-RU" sz="1600" b="1" dirty="0" smtClean="0">
              <a:solidFill>
                <a:schemeClr val="tx1"/>
              </a:solidFill>
              <a:latin typeface="Arial Narrow" pitchFamily="34" charset="0"/>
              <a:cs typeface="Arial" pitchFamily="34" charset="0"/>
            </a:rPr>
            <a:t>) </a:t>
          </a:r>
          <a:r>
            <a:rPr lang="ru-RU" sz="1600" b="0" dirty="0" smtClean="0">
              <a:solidFill>
                <a:schemeClr val="tx1"/>
              </a:solidFill>
              <a:latin typeface="Arial Narrow" pitchFamily="34" charset="0"/>
              <a:cs typeface="Arial" pitchFamily="34" charset="0"/>
            </a:rPr>
            <a:t>беру </a:t>
          </a:r>
          <a:r>
            <a:rPr lang="ru-RU" sz="1600" b="0" dirty="0" err="1" smtClean="0">
              <a:solidFill>
                <a:schemeClr val="tx1"/>
              </a:solidFill>
              <a:latin typeface="Arial Narrow" pitchFamily="34" charset="0"/>
              <a:cs typeface="Arial" pitchFamily="34" charset="0"/>
            </a:rPr>
            <a:t>үшін</a:t>
          </a:r>
          <a:r>
            <a:rPr lang="ru-RU" sz="1600" b="0" dirty="0" smtClean="0">
              <a:solidFill>
                <a:schemeClr val="tx1"/>
              </a:solidFill>
              <a:latin typeface="Arial Narrow" pitchFamily="34" charset="0"/>
              <a:cs typeface="Arial" pitchFamily="34" charset="0"/>
            </a:rPr>
            <a:t> </a:t>
          </a:r>
          <a:r>
            <a:rPr lang="ru-RU" sz="1600" b="0" dirty="0" err="1" smtClean="0">
              <a:solidFill>
                <a:schemeClr val="tx1"/>
              </a:solidFill>
              <a:latin typeface="Arial Narrow" pitchFamily="34" charset="0"/>
              <a:cs typeface="Arial" pitchFamily="34" charset="0"/>
            </a:rPr>
            <a:t>көппәтерлі</a:t>
          </a:r>
          <a:r>
            <a:rPr lang="ru-RU" sz="1600" b="0" dirty="0" smtClean="0">
              <a:solidFill>
                <a:schemeClr val="tx1"/>
              </a:solidFill>
              <a:latin typeface="Arial Narrow" pitchFamily="34" charset="0"/>
              <a:cs typeface="Arial" pitchFamily="34" charset="0"/>
            </a:rPr>
            <a:t> </a:t>
          </a:r>
          <a:r>
            <a:rPr lang="ru-RU" sz="1600" b="0" dirty="0" err="1" smtClean="0">
              <a:solidFill>
                <a:schemeClr val="tx1"/>
              </a:solidFill>
              <a:latin typeface="Arial Narrow" pitchFamily="34" charset="0"/>
              <a:cs typeface="Arial" pitchFamily="34" charset="0"/>
            </a:rPr>
            <a:t>тұрғын</a:t>
          </a:r>
          <a:r>
            <a:rPr lang="ru-RU" sz="1600" b="0" dirty="0" smtClean="0">
              <a:solidFill>
                <a:schemeClr val="tx1"/>
              </a:solidFill>
              <a:latin typeface="Arial Narrow" pitchFamily="34" charset="0"/>
              <a:cs typeface="Arial" pitchFamily="34" charset="0"/>
            </a:rPr>
            <a:t> </a:t>
          </a:r>
          <a:r>
            <a:rPr lang="ru-RU" sz="1600" b="0" dirty="0" err="1" smtClean="0">
              <a:solidFill>
                <a:schemeClr val="tx1"/>
              </a:solidFill>
              <a:latin typeface="Arial Narrow" pitchFamily="34" charset="0"/>
              <a:cs typeface="Arial" pitchFamily="34" charset="0"/>
            </a:rPr>
            <a:t>үйлердің</a:t>
          </a:r>
          <a:r>
            <a:rPr lang="ru-RU" sz="1600" b="0" dirty="0" smtClean="0">
              <a:solidFill>
                <a:schemeClr val="tx1"/>
              </a:solidFill>
              <a:latin typeface="Arial Narrow" pitchFamily="34" charset="0"/>
              <a:cs typeface="Arial" pitchFamily="34" charset="0"/>
            </a:rPr>
            <a:t> </a:t>
          </a:r>
          <a:r>
            <a:rPr lang="ru-RU" sz="1600" b="0" dirty="0" err="1" smtClean="0">
              <a:solidFill>
                <a:schemeClr val="tx1"/>
              </a:solidFill>
              <a:latin typeface="Arial Narrow" pitchFamily="34" charset="0"/>
              <a:cs typeface="Arial" pitchFamily="34" charset="0"/>
            </a:rPr>
            <a:t>тізбесін</a:t>
          </a:r>
          <a:r>
            <a:rPr lang="ru-RU" sz="1600" b="0" dirty="0" smtClean="0">
              <a:solidFill>
                <a:schemeClr val="tx1"/>
              </a:solidFill>
              <a:latin typeface="Arial Narrow" pitchFamily="34" charset="0"/>
              <a:cs typeface="Arial" pitchFamily="34" charset="0"/>
            </a:rPr>
            <a:t> </a:t>
          </a:r>
          <a:r>
            <a:rPr lang="ru-RU" sz="1600" b="0" dirty="0" err="1" smtClean="0">
              <a:solidFill>
                <a:schemeClr val="tx1"/>
              </a:solidFill>
              <a:latin typeface="Arial Narrow" pitchFamily="34" charset="0"/>
              <a:cs typeface="Arial" pitchFamily="34" charset="0"/>
            </a:rPr>
            <a:t>анықтайды</a:t>
          </a:r>
          <a:r>
            <a:rPr lang="ru-RU" sz="1600" b="0" dirty="0" smtClean="0">
              <a:solidFill>
                <a:schemeClr val="tx1"/>
              </a:solidFill>
              <a:latin typeface="Arial Narrow" pitchFamily="34" charset="0"/>
              <a:cs typeface="Arial" pitchFamily="34" charset="0"/>
            </a:rPr>
            <a:t>. </a:t>
          </a:r>
          <a:endParaRPr lang="ru-RU" sz="1600" b="0" dirty="0">
            <a:solidFill>
              <a:schemeClr val="tx1"/>
            </a:solidFill>
          </a:endParaRPr>
        </a:p>
      </dgm:t>
    </dgm:pt>
    <dgm:pt modelId="{A99A0CA9-0FC7-4D2D-9F60-6F26CDC3CF98}" type="parTrans" cxnId="{C12EBC5A-6EAC-4E9F-994C-00FC773FBF24}">
      <dgm:prSet/>
      <dgm:spPr/>
      <dgm:t>
        <a:bodyPr/>
        <a:lstStyle/>
        <a:p>
          <a:endParaRPr lang="ru-RU" sz="1500" b="0"/>
        </a:p>
      </dgm:t>
    </dgm:pt>
    <dgm:pt modelId="{7A278358-127C-47CD-8F05-194AAE7C8A13}" type="sibTrans" cxnId="{C12EBC5A-6EAC-4E9F-994C-00FC773FBF24}">
      <dgm:prSet/>
      <dgm:spPr>
        <a:solidFill>
          <a:schemeClr val="accent1">
            <a:lumMod val="40000"/>
            <a:lumOff val="60000"/>
          </a:schemeClr>
        </a:solidFill>
        <a:ln w="3175">
          <a:solidFill>
            <a:srgbClr val="002060"/>
          </a:solidFill>
        </a:ln>
      </dgm:spPr>
      <dgm:t>
        <a:bodyPr/>
        <a:lstStyle/>
        <a:p>
          <a:endParaRPr lang="ru-RU" sz="1500" b="0"/>
        </a:p>
      </dgm:t>
    </dgm:pt>
    <dgm:pt modelId="{7E8FE32D-6D36-45A2-AA70-2B93733016A1}">
      <dgm:prSet custT="1"/>
      <dgm:spPr>
        <a:solidFill>
          <a:schemeClr val="accent1">
            <a:lumMod val="40000"/>
            <a:lumOff val="60000"/>
          </a:schemeClr>
        </a:solidFill>
        <a:ln w="3175">
          <a:solidFill>
            <a:srgbClr val="002060"/>
          </a:solidFill>
        </a:ln>
        <a:effectLst>
          <a:innerShdw blurRad="63500" dist="50800" dir="8100000">
            <a:prstClr val="black">
              <a:alpha val="50000"/>
            </a:prstClr>
          </a:innerShdw>
        </a:effectLst>
      </dgm:spPr>
      <dgm:t>
        <a:bodyPr/>
        <a:lstStyle/>
        <a:p>
          <a:r>
            <a:rPr lang="ru-RU" sz="1600" b="1" dirty="0" smtClean="0">
              <a:solidFill>
                <a:schemeClr val="tx1"/>
              </a:solidFill>
              <a:latin typeface="Arial Narrow" pitchFamily="34" charset="0"/>
            </a:rPr>
            <a:t>СУ БАСУ ҚАУПІ БАР АЙМАҚТАРДА </a:t>
          </a:r>
          <a:r>
            <a:rPr lang="ru-RU" sz="1600" b="0" dirty="0" err="1" smtClean="0">
              <a:solidFill>
                <a:schemeClr val="tx1"/>
              </a:solidFill>
              <a:latin typeface="Arial Narrow" pitchFamily="34" charset="0"/>
            </a:rPr>
            <a:t>тұрғын</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үйлердің</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тұрақтылығын</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нығайту</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шараларын</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жүзеге</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асыруды</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қаржыландырады</a:t>
          </a:r>
          <a:endParaRPr lang="ru-RU" sz="1600" b="0" dirty="0">
            <a:solidFill>
              <a:schemeClr val="tx1"/>
            </a:solidFill>
          </a:endParaRPr>
        </a:p>
      </dgm:t>
    </dgm:pt>
    <dgm:pt modelId="{B62DBA68-5466-41A5-B98F-6E84932B7BF1}" type="parTrans" cxnId="{7E773C62-6011-4CCD-925B-AB7752E9952F}">
      <dgm:prSet/>
      <dgm:spPr/>
      <dgm:t>
        <a:bodyPr/>
        <a:lstStyle/>
        <a:p>
          <a:endParaRPr lang="ru-RU" sz="1500" b="0"/>
        </a:p>
      </dgm:t>
    </dgm:pt>
    <dgm:pt modelId="{21D555A3-2539-4A29-94E3-918DBC1995E6}" type="sibTrans" cxnId="{7E773C62-6011-4CCD-925B-AB7752E9952F}">
      <dgm:prSet/>
      <dgm:spPr/>
      <dgm:t>
        <a:bodyPr/>
        <a:lstStyle/>
        <a:p>
          <a:endParaRPr lang="ru-RU" sz="1500" b="0"/>
        </a:p>
      </dgm:t>
    </dgm:pt>
    <dgm:pt modelId="{0F932AD5-59E3-4CF4-ACE9-FEF475C91AC2}">
      <dgm:prSet custT="1"/>
      <dgm:spPr>
        <a:solidFill>
          <a:schemeClr val="accent1">
            <a:lumMod val="40000"/>
            <a:lumOff val="60000"/>
          </a:schemeClr>
        </a:solidFill>
        <a:ln w="3175">
          <a:solidFill>
            <a:srgbClr val="002060"/>
          </a:solidFill>
        </a:ln>
        <a:effectLst>
          <a:innerShdw blurRad="63500" dist="50800" dir="8100000">
            <a:prstClr val="black">
              <a:alpha val="50000"/>
            </a:prstClr>
          </a:innerShdw>
        </a:effectLst>
      </dgm:spPr>
      <dgm:t>
        <a:bodyPr/>
        <a:lstStyle/>
        <a:p>
          <a:pPr>
            <a:spcAft>
              <a:spcPts val="0"/>
            </a:spcAft>
          </a:pPr>
          <a:r>
            <a:rPr lang="ru-RU" sz="1600" b="0" dirty="0" err="1" smtClean="0">
              <a:solidFill>
                <a:schemeClr val="tx1"/>
              </a:solidFill>
              <a:latin typeface="Arial Narrow" pitchFamily="34" charset="0"/>
            </a:rPr>
            <a:t>Жергілікті</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бюджеттен</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қаражаты</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есебінен</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қайтарымдылық</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негізінде</a:t>
          </a:r>
          <a:r>
            <a:rPr lang="ru-RU" sz="1600" b="0" dirty="0" smtClean="0">
              <a:solidFill>
                <a:schemeClr val="tx1"/>
              </a:solidFill>
              <a:latin typeface="Arial Narrow" pitchFamily="34" charset="0"/>
            </a:rPr>
            <a:t> </a:t>
          </a:r>
          <a:r>
            <a:rPr lang="ru-RU" sz="1600" b="1" dirty="0" smtClean="0">
              <a:solidFill>
                <a:schemeClr val="tx1"/>
              </a:solidFill>
              <a:latin typeface="Arial Narrow" pitchFamily="34" charset="0"/>
            </a:rPr>
            <a:t>ЛИФТІЛЕРДІ ЖӨНДЕЙДІ ЖӘНЕ АУЫСТЫРАДЫ</a:t>
          </a:r>
          <a:endParaRPr lang="ru-RU" sz="1600" b="0" dirty="0" smtClean="0">
            <a:solidFill>
              <a:schemeClr val="tx1"/>
            </a:solidFill>
            <a:latin typeface="Arial Narrow" pitchFamily="34" charset="0"/>
          </a:endParaRPr>
        </a:p>
      </dgm:t>
    </dgm:pt>
    <dgm:pt modelId="{CB16ACD0-9F6C-46C3-81BD-F30A3697C329}" type="parTrans" cxnId="{C75E0916-66D4-49C8-AE1C-99AFCE3FC444}">
      <dgm:prSet/>
      <dgm:spPr/>
      <dgm:t>
        <a:bodyPr/>
        <a:lstStyle/>
        <a:p>
          <a:endParaRPr lang="ru-RU" sz="1500" b="0"/>
        </a:p>
      </dgm:t>
    </dgm:pt>
    <dgm:pt modelId="{4C0633BB-120D-4476-8669-7D2C220E9F8B}" type="sibTrans" cxnId="{C75E0916-66D4-49C8-AE1C-99AFCE3FC444}">
      <dgm:prSet/>
      <dgm:spPr/>
      <dgm:t>
        <a:bodyPr/>
        <a:lstStyle/>
        <a:p>
          <a:endParaRPr lang="ru-RU" sz="1500" b="0"/>
        </a:p>
      </dgm:t>
    </dgm:pt>
    <dgm:pt modelId="{79EF1F8E-FE51-4EDD-B493-745CE1B4BFEA}">
      <dgm:prSet custT="1"/>
      <dgm:spPr>
        <a:solidFill>
          <a:schemeClr val="accent1">
            <a:lumMod val="40000"/>
            <a:lumOff val="60000"/>
          </a:schemeClr>
        </a:solidFill>
        <a:ln w="3175">
          <a:solidFill>
            <a:srgbClr val="002060"/>
          </a:solidFill>
        </a:ln>
        <a:effectLst>
          <a:innerShdw blurRad="63500" dist="50800" dir="8100000">
            <a:prstClr val="black">
              <a:alpha val="50000"/>
            </a:prstClr>
          </a:innerShdw>
        </a:effectLst>
      </dgm:spPr>
      <dgm:t>
        <a:bodyPr/>
        <a:lstStyle/>
        <a:p>
          <a:r>
            <a:rPr lang="ru-RU" sz="1600" b="0" dirty="0" smtClean="0">
              <a:solidFill>
                <a:schemeClr val="tx1"/>
              </a:solidFill>
              <a:latin typeface="Arial Narrow" pitchFamily="34" charset="0"/>
            </a:rPr>
            <a:t>кондоминиум </a:t>
          </a:r>
          <a:r>
            <a:rPr lang="ru-RU" sz="1600" b="0" dirty="0" err="1" smtClean="0">
              <a:solidFill>
                <a:schemeClr val="tx1"/>
              </a:solidFill>
              <a:latin typeface="Arial Narrow" pitchFamily="34" charset="0"/>
            </a:rPr>
            <a:t>объектісінің</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ортақ</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мүліктің</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құрамына</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жер</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участкесін</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кіргізуді</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қамтамасыз</a:t>
          </a:r>
          <a:r>
            <a:rPr lang="ru-RU" sz="1600" b="0" dirty="0" smtClean="0">
              <a:solidFill>
                <a:schemeClr val="tx1"/>
              </a:solidFill>
              <a:latin typeface="Arial Narrow" pitchFamily="34" charset="0"/>
            </a:rPr>
            <a:t> </a:t>
          </a:r>
          <a:r>
            <a:rPr lang="ru-RU" sz="1600" b="0" dirty="0" err="1" smtClean="0">
              <a:solidFill>
                <a:schemeClr val="tx1"/>
              </a:solidFill>
              <a:latin typeface="Arial Narrow" pitchFamily="34" charset="0"/>
            </a:rPr>
            <a:t>етеді</a:t>
          </a:r>
          <a:endParaRPr lang="ru-RU" sz="1600" b="0" dirty="0">
            <a:solidFill>
              <a:schemeClr val="tx1"/>
            </a:solidFill>
            <a:latin typeface="Arial Narrow" pitchFamily="34" charset="0"/>
            <a:cs typeface="Arial" panose="020B0604020202020204" pitchFamily="34" charset="0"/>
          </a:endParaRPr>
        </a:p>
      </dgm:t>
    </dgm:pt>
    <dgm:pt modelId="{3F2C4872-D0D4-4E39-91DF-D42CC7E9661E}" type="parTrans" cxnId="{4B3355BE-314C-4A46-BF07-8B54E3664A6B}">
      <dgm:prSet/>
      <dgm:spPr/>
      <dgm:t>
        <a:bodyPr/>
        <a:lstStyle/>
        <a:p>
          <a:endParaRPr lang="ru-RU" sz="1500" b="0"/>
        </a:p>
      </dgm:t>
    </dgm:pt>
    <dgm:pt modelId="{7BA7D4F9-1D90-4FE8-BDCA-C4A9F69A70B0}" type="sibTrans" cxnId="{4B3355BE-314C-4A46-BF07-8B54E3664A6B}">
      <dgm:prSet/>
      <dgm:spPr/>
      <dgm:t>
        <a:bodyPr/>
        <a:lstStyle/>
        <a:p>
          <a:endParaRPr lang="ru-RU" sz="1500" b="0"/>
        </a:p>
      </dgm:t>
    </dgm:pt>
    <dgm:pt modelId="{97E4BC4D-A719-4D31-BECD-1B781319F102}">
      <dgm:prSet custT="1"/>
      <dgm:spPr>
        <a:solidFill>
          <a:schemeClr val="accent1">
            <a:lumMod val="40000"/>
            <a:lumOff val="60000"/>
          </a:schemeClr>
        </a:solidFill>
        <a:ln w="3175">
          <a:solidFill>
            <a:srgbClr val="002060"/>
          </a:solidFill>
        </a:ln>
        <a:effectLst>
          <a:innerShdw blurRad="63500" dist="50800" dir="8100000">
            <a:prstClr val="black">
              <a:alpha val="50000"/>
            </a:prstClr>
          </a:innerShdw>
        </a:effectLst>
      </dgm:spPr>
      <dgm:t>
        <a:bodyPr/>
        <a:lstStyle/>
        <a:p>
          <a:r>
            <a:rPr lang="ru-RU" sz="1600" b="0" dirty="0" err="1" smtClean="0">
              <a:latin typeface="Arial Narrow" pitchFamily="34" charset="0"/>
            </a:rPr>
            <a:t>авариялы</a:t>
          </a:r>
          <a:r>
            <a:rPr lang="ru-RU" sz="1600" b="0" dirty="0" smtClean="0">
              <a:latin typeface="Arial Narrow" pitchFamily="34" charset="0"/>
            </a:rPr>
            <a:t> </a:t>
          </a:r>
          <a:r>
            <a:rPr lang="ru-RU" sz="1600" b="0" dirty="0" err="1" smtClean="0">
              <a:latin typeface="Arial Narrow" pitchFamily="34" charset="0"/>
            </a:rPr>
            <a:t>жағдайдағы</a:t>
          </a:r>
          <a:r>
            <a:rPr lang="ru-RU" sz="1600" b="0" dirty="0" smtClean="0">
              <a:latin typeface="Arial Narrow" pitchFamily="34" charset="0"/>
            </a:rPr>
            <a:t> </a:t>
          </a:r>
          <a:r>
            <a:rPr lang="ru-RU" sz="1600" b="0" dirty="0" err="1" smtClean="0">
              <a:latin typeface="Arial Narrow" pitchFamily="34" charset="0"/>
            </a:rPr>
            <a:t>көп</a:t>
          </a:r>
          <a:r>
            <a:rPr lang="ru-RU" sz="1600" b="0" dirty="0" smtClean="0">
              <a:latin typeface="Arial Narrow" pitchFamily="34" charset="0"/>
            </a:rPr>
            <a:t> </a:t>
          </a:r>
          <a:r>
            <a:rPr lang="ru-RU" sz="1600" b="0" dirty="0" err="1" smtClean="0">
              <a:latin typeface="Arial Narrow" pitchFamily="34" charset="0"/>
            </a:rPr>
            <a:t>пәтерлі</a:t>
          </a:r>
          <a:r>
            <a:rPr lang="ru-RU" sz="1600" b="0" dirty="0" smtClean="0">
              <a:latin typeface="Arial Narrow" pitchFamily="34" charset="0"/>
            </a:rPr>
            <a:t> </a:t>
          </a:r>
          <a:r>
            <a:rPr lang="ru-RU" sz="1600" b="0" dirty="0" err="1" smtClean="0">
              <a:latin typeface="Arial Narrow" pitchFamily="34" charset="0"/>
            </a:rPr>
            <a:t>тұрғын</a:t>
          </a:r>
          <a:r>
            <a:rPr lang="ru-RU" sz="1600" b="0" dirty="0" smtClean="0">
              <a:latin typeface="Arial Narrow" pitchFamily="34" charset="0"/>
            </a:rPr>
            <a:t> </a:t>
          </a:r>
          <a:r>
            <a:rPr lang="ru-RU" sz="1600" b="0" dirty="0" err="1" smtClean="0">
              <a:latin typeface="Arial Narrow" pitchFamily="34" charset="0"/>
            </a:rPr>
            <a:t>үйлерді</a:t>
          </a:r>
          <a:r>
            <a:rPr lang="ru-RU" sz="1600" b="0" dirty="0" smtClean="0">
              <a:latin typeface="Arial Narrow" pitchFamily="34" charset="0"/>
            </a:rPr>
            <a:t> </a:t>
          </a:r>
          <a:r>
            <a:rPr lang="ru-RU" sz="1600" b="1" dirty="0" smtClean="0">
              <a:latin typeface="Arial Narrow" pitchFamily="34" charset="0"/>
            </a:rPr>
            <a:t>БҰЗУДЫ </a:t>
          </a:r>
          <a:r>
            <a:rPr lang="ru-RU" sz="1600" b="0" dirty="0" err="1" smtClean="0">
              <a:latin typeface="Arial Narrow" pitchFamily="34" charset="0"/>
            </a:rPr>
            <a:t>ұйымдастырады</a:t>
          </a:r>
          <a:endParaRPr lang="ru-RU" sz="1600" b="0" dirty="0">
            <a:latin typeface="Arial Narrow" pitchFamily="34" charset="0"/>
          </a:endParaRPr>
        </a:p>
      </dgm:t>
    </dgm:pt>
    <dgm:pt modelId="{70208E9B-BBDD-47C5-88B8-4281CFFDCC6C}" type="parTrans" cxnId="{3B1A4B4E-B0C9-485E-A945-B25FF35569FC}">
      <dgm:prSet/>
      <dgm:spPr/>
      <dgm:t>
        <a:bodyPr/>
        <a:lstStyle/>
        <a:p>
          <a:endParaRPr lang="ru-RU" sz="1500" b="0"/>
        </a:p>
      </dgm:t>
    </dgm:pt>
    <dgm:pt modelId="{578D2025-B629-4E93-9266-3501FD5580C0}" type="sibTrans" cxnId="{3B1A4B4E-B0C9-485E-A945-B25FF35569FC}">
      <dgm:prSet/>
      <dgm:spPr/>
      <dgm:t>
        <a:bodyPr/>
        <a:lstStyle/>
        <a:p>
          <a:endParaRPr lang="ru-RU" sz="1500" b="0"/>
        </a:p>
      </dgm:t>
    </dgm:pt>
    <dgm:pt modelId="{7072E125-2940-48D0-9738-A57B40638C2B}">
      <dgm:prSet custT="1"/>
      <dgm:spPr>
        <a:solidFill>
          <a:schemeClr val="accent1">
            <a:lumMod val="40000"/>
            <a:lumOff val="60000"/>
          </a:schemeClr>
        </a:solidFill>
        <a:ln w="3175">
          <a:solidFill>
            <a:srgbClr val="002060"/>
          </a:solidFill>
        </a:ln>
        <a:effectLst>
          <a:innerShdw blurRad="63500" dist="50800" dir="8100000">
            <a:prstClr val="black">
              <a:alpha val="50000"/>
            </a:prstClr>
          </a:innerShdw>
        </a:effectLst>
      </dgm:spPr>
      <dgm:t>
        <a:bodyPr/>
        <a:lstStyle/>
        <a:p>
          <a:r>
            <a:rPr lang="kk-KZ" sz="1600" b="0" dirty="0" smtClean="0">
              <a:solidFill>
                <a:schemeClr val="tx1"/>
              </a:solidFill>
              <a:latin typeface="Arial Narrow" pitchFamily="34" charset="0"/>
            </a:rPr>
            <a:t>газбен жабдықтау, газбен қамтамасыз ету және әлеуметтік инфрақұрылым объектілерінде қауіпті техникалық құрылғылардың қауіпсіз жұмысын қадағалау</a:t>
          </a:r>
          <a:endParaRPr lang="ru-RU" sz="1600" b="0" dirty="0">
            <a:solidFill>
              <a:schemeClr val="tx1"/>
            </a:solidFill>
            <a:latin typeface="Arial Narrow" pitchFamily="34" charset="0"/>
          </a:endParaRPr>
        </a:p>
      </dgm:t>
    </dgm:pt>
    <dgm:pt modelId="{79E7A167-8468-4EE9-9580-0E0E2CB9CED5}" type="parTrans" cxnId="{7370CBF6-5A58-442B-BC49-DFDF62295EBA}">
      <dgm:prSet/>
      <dgm:spPr/>
      <dgm:t>
        <a:bodyPr/>
        <a:lstStyle/>
        <a:p>
          <a:endParaRPr lang="ru-RU" sz="1500"/>
        </a:p>
      </dgm:t>
    </dgm:pt>
    <dgm:pt modelId="{C799ADF0-9FEA-4DC3-8870-8FB66A9FF4FE}" type="sibTrans" cxnId="{7370CBF6-5A58-442B-BC49-DFDF62295EBA}">
      <dgm:prSet/>
      <dgm:spPr/>
      <dgm:t>
        <a:bodyPr/>
        <a:lstStyle/>
        <a:p>
          <a:endParaRPr lang="ru-RU" sz="1500"/>
        </a:p>
      </dgm:t>
    </dgm:pt>
    <dgm:pt modelId="{272FAE00-F862-483A-A39B-9911798ECAF7}" type="pres">
      <dgm:prSet presAssocID="{3FAC081C-885C-460E-8C03-65A988C6EC34}" presName="Name0" presStyleCnt="0">
        <dgm:presLayoutVars>
          <dgm:chMax val="7"/>
          <dgm:chPref val="7"/>
          <dgm:dir/>
        </dgm:presLayoutVars>
      </dgm:prSet>
      <dgm:spPr/>
      <dgm:t>
        <a:bodyPr/>
        <a:lstStyle/>
        <a:p>
          <a:endParaRPr lang="ru-RU"/>
        </a:p>
      </dgm:t>
    </dgm:pt>
    <dgm:pt modelId="{1859520A-49DA-43D3-BC21-358EF003846B}" type="pres">
      <dgm:prSet presAssocID="{3FAC081C-885C-460E-8C03-65A988C6EC34}" presName="Name1" presStyleCnt="0"/>
      <dgm:spPr/>
    </dgm:pt>
    <dgm:pt modelId="{98CEAC48-8D2B-4B49-8B88-9B9E27DAF101}" type="pres">
      <dgm:prSet presAssocID="{3FAC081C-885C-460E-8C03-65A988C6EC34}" presName="cycle" presStyleCnt="0"/>
      <dgm:spPr/>
    </dgm:pt>
    <dgm:pt modelId="{F89DFC4B-684C-4635-A3A7-7D659A6615C1}" type="pres">
      <dgm:prSet presAssocID="{3FAC081C-885C-460E-8C03-65A988C6EC34}" presName="srcNode" presStyleLbl="node1" presStyleIdx="0" presStyleCnt="6"/>
      <dgm:spPr/>
    </dgm:pt>
    <dgm:pt modelId="{821D417C-A89B-44E2-9456-712ABE7A2026}" type="pres">
      <dgm:prSet presAssocID="{3FAC081C-885C-460E-8C03-65A988C6EC34}" presName="conn" presStyleLbl="parChTrans1D2" presStyleIdx="0" presStyleCnt="1" custScaleX="79684" custScaleY="93328" custLinFactNeighborX="7203" custRadScaleRad="0" custRadScaleInc="-2147483648"/>
      <dgm:spPr/>
      <dgm:t>
        <a:bodyPr/>
        <a:lstStyle/>
        <a:p>
          <a:endParaRPr lang="ru-RU"/>
        </a:p>
      </dgm:t>
    </dgm:pt>
    <dgm:pt modelId="{52CC7FBA-19E8-4767-9244-A1A79F0EC9B8}" type="pres">
      <dgm:prSet presAssocID="{3FAC081C-885C-460E-8C03-65A988C6EC34}" presName="extraNode" presStyleLbl="node1" presStyleIdx="0" presStyleCnt="6"/>
      <dgm:spPr/>
    </dgm:pt>
    <dgm:pt modelId="{8308875D-C9F2-4C91-ACC3-11766FB1F86F}" type="pres">
      <dgm:prSet presAssocID="{3FAC081C-885C-460E-8C03-65A988C6EC34}" presName="dstNode" presStyleLbl="node1" presStyleIdx="0" presStyleCnt="6"/>
      <dgm:spPr/>
    </dgm:pt>
    <dgm:pt modelId="{040A411F-B272-4687-9D45-3F77A11E2970}" type="pres">
      <dgm:prSet presAssocID="{AC0D2A7B-FD2B-4419-993A-7DBF4556DF5D}" presName="text_1" presStyleLbl="node1" presStyleIdx="0" presStyleCnt="6" custScaleX="83250" custScaleY="139184" custLinFactNeighborX="-4128" custLinFactNeighborY="12929">
        <dgm:presLayoutVars>
          <dgm:bulletEnabled val="1"/>
        </dgm:presLayoutVars>
      </dgm:prSet>
      <dgm:spPr/>
      <dgm:t>
        <a:bodyPr/>
        <a:lstStyle/>
        <a:p>
          <a:endParaRPr lang="ru-RU"/>
        </a:p>
      </dgm:t>
    </dgm:pt>
    <dgm:pt modelId="{23A2151E-850D-4E63-9DE8-93BAFE7C7A18}" type="pres">
      <dgm:prSet presAssocID="{AC0D2A7B-FD2B-4419-993A-7DBF4556DF5D}" presName="accent_1" presStyleCnt="0"/>
      <dgm:spPr/>
    </dgm:pt>
    <dgm:pt modelId="{607C80D8-2CFC-4F51-A4BC-76FD94A42073}" type="pres">
      <dgm:prSet presAssocID="{AC0D2A7B-FD2B-4419-993A-7DBF4556DF5D}" presName="accentRepeatNode" presStyleLbl="solidFgAcc1" presStyleIdx="0" presStyleCnt="6" custScaleX="109484" custScaleY="109947" custLinFactNeighborX="38235" custLinFactNeighborY="13388"/>
      <dgm:spPr>
        <a:solidFill>
          <a:schemeClr val="bg1"/>
        </a:solidFill>
        <a:ln w="3175">
          <a:solidFill>
            <a:srgbClr val="002060"/>
          </a:solidFill>
        </a:ln>
        <a:effectLst>
          <a:innerShdw blurRad="63500" dist="50800" dir="8100000">
            <a:prstClr val="black">
              <a:alpha val="50000"/>
            </a:prstClr>
          </a:innerShdw>
        </a:effectLst>
      </dgm:spPr>
      <dgm:t>
        <a:bodyPr/>
        <a:lstStyle/>
        <a:p>
          <a:endParaRPr lang="ru-RU"/>
        </a:p>
      </dgm:t>
    </dgm:pt>
    <dgm:pt modelId="{010668E2-12F8-4BDF-882A-CD08E437616E}" type="pres">
      <dgm:prSet presAssocID="{7E8FE32D-6D36-45A2-AA70-2B93733016A1}" presName="text_2" presStyleLbl="node1" presStyleIdx="1" presStyleCnt="6" custScaleX="84854" custScaleY="119706" custLinFactNeighborX="-5772" custLinFactNeighborY="20000">
        <dgm:presLayoutVars>
          <dgm:bulletEnabled val="1"/>
        </dgm:presLayoutVars>
      </dgm:prSet>
      <dgm:spPr/>
      <dgm:t>
        <a:bodyPr/>
        <a:lstStyle/>
        <a:p>
          <a:endParaRPr lang="ru-RU"/>
        </a:p>
      </dgm:t>
    </dgm:pt>
    <dgm:pt modelId="{9BD181C9-7A67-45D5-9A20-DD777C343FBF}" type="pres">
      <dgm:prSet presAssocID="{7E8FE32D-6D36-45A2-AA70-2B93733016A1}" presName="accent_2" presStyleCnt="0"/>
      <dgm:spPr/>
    </dgm:pt>
    <dgm:pt modelId="{F5CCCCB3-2338-4CA8-BAAF-557543FEE767}" type="pres">
      <dgm:prSet presAssocID="{7E8FE32D-6D36-45A2-AA70-2B93733016A1}" presName="accentRepeatNode" presStyleLbl="solidFgAcc1" presStyleIdx="1" presStyleCnt="6" custScaleX="111692" custScaleY="109373" custLinFactNeighborX="-3097" custLinFactNeighborY="17116"/>
      <dgm:spPr>
        <a:solidFill>
          <a:schemeClr val="bg1"/>
        </a:solidFill>
        <a:ln w="3175">
          <a:solidFill>
            <a:srgbClr val="002060"/>
          </a:solidFill>
        </a:ln>
        <a:effectLst>
          <a:innerShdw blurRad="63500" dist="50800" dir="8100000">
            <a:prstClr val="black">
              <a:alpha val="50000"/>
            </a:prstClr>
          </a:innerShdw>
        </a:effectLst>
      </dgm:spPr>
      <dgm:t>
        <a:bodyPr/>
        <a:lstStyle/>
        <a:p>
          <a:endParaRPr lang="ru-RU"/>
        </a:p>
      </dgm:t>
    </dgm:pt>
    <dgm:pt modelId="{CD36CDEF-10A3-4951-97FF-62A51E385E9B}" type="pres">
      <dgm:prSet presAssocID="{0F932AD5-59E3-4CF4-ACE9-FEF475C91AC2}" presName="text_3" presStyleLbl="node1" presStyleIdx="2" presStyleCnt="6" custScaleX="88553" custScaleY="110343" custLinFactNeighborX="-7689" custLinFactNeighborY="20707">
        <dgm:presLayoutVars>
          <dgm:bulletEnabled val="1"/>
        </dgm:presLayoutVars>
      </dgm:prSet>
      <dgm:spPr/>
      <dgm:t>
        <a:bodyPr/>
        <a:lstStyle/>
        <a:p>
          <a:endParaRPr lang="ru-RU"/>
        </a:p>
      </dgm:t>
    </dgm:pt>
    <dgm:pt modelId="{C080A79C-537A-4527-B568-B0FA8958D295}" type="pres">
      <dgm:prSet presAssocID="{0F932AD5-59E3-4CF4-ACE9-FEF475C91AC2}" presName="accent_3" presStyleCnt="0"/>
      <dgm:spPr/>
    </dgm:pt>
    <dgm:pt modelId="{36DCBD3C-E704-49F0-94BE-4EAD78C326FB}" type="pres">
      <dgm:prSet presAssocID="{0F932AD5-59E3-4CF4-ACE9-FEF475C91AC2}" presName="accentRepeatNode" presStyleLbl="solidFgAcc1" presStyleIdx="2" presStyleCnt="6" custScaleX="112843" custScaleY="106407" custLinFactNeighborX="-23516" custLinFactNeighborY="18621"/>
      <dgm:spPr>
        <a:solidFill>
          <a:schemeClr val="bg1"/>
        </a:solidFill>
        <a:ln w="3175">
          <a:solidFill>
            <a:srgbClr val="002060"/>
          </a:solidFill>
        </a:ln>
        <a:effectLst>
          <a:innerShdw blurRad="63500" dist="50800" dir="8100000">
            <a:prstClr val="black">
              <a:alpha val="50000"/>
            </a:prstClr>
          </a:innerShdw>
        </a:effectLst>
      </dgm:spPr>
      <dgm:t>
        <a:bodyPr/>
        <a:lstStyle/>
        <a:p>
          <a:endParaRPr lang="ru-RU"/>
        </a:p>
      </dgm:t>
    </dgm:pt>
    <dgm:pt modelId="{CDC22D74-E8E2-4F38-B8B3-FF1999BB9A90}" type="pres">
      <dgm:prSet presAssocID="{79EF1F8E-FE51-4EDD-B493-745CE1B4BFEA}" presName="text_4" presStyleLbl="node1" presStyleIdx="3" presStyleCnt="6" custScaleX="87309" custScaleY="119228" custLinFactNeighborX="-7196" custLinFactNeighborY="18627">
        <dgm:presLayoutVars>
          <dgm:bulletEnabled val="1"/>
        </dgm:presLayoutVars>
      </dgm:prSet>
      <dgm:spPr/>
      <dgm:t>
        <a:bodyPr/>
        <a:lstStyle/>
        <a:p>
          <a:endParaRPr lang="ru-RU"/>
        </a:p>
      </dgm:t>
    </dgm:pt>
    <dgm:pt modelId="{171481D3-B2E3-40D0-84BB-78C5314C8E9B}" type="pres">
      <dgm:prSet presAssocID="{79EF1F8E-FE51-4EDD-B493-745CE1B4BFEA}" presName="accent_4" presStyleCnt="0"/>
      <dgm:spPr/>
    </dgm:pt>
    <dgm:pt modelId="{F3DBB779-D7F8-4B2F-96A9-089122992CB0}" type="pres">
      <dgm:prSet presAssocID="{79EF1F8E-FE51-4EDD-B493-745CE1B4BFEA}" presName="accentRepeatNode" presStyleLbl="solidFgAcc1" presStyleIdx="3" presStyleCnt="6" custScaleX="118708" custScaleY="107210" custLinFactNeighborX="-27473" custLinFactNeighborY="17989"/>
      <dgm:spPr>
        <a:solidFill>
          <a:schemeClr val="bg1"/>
        </a:solidFill>
        <a:ln w="3175">
          <a:solidFill>
            <a:srgbClr val="002060"/>
          </a:solidFill>
        </a:ln>
        <a:effectLst>
          <a:innerShdw blurRad="63500" dist="50800" dir="8100000">
            <a:prstClr val="black">
              <a:alpha val="50000"/>
            </a:prstClr>
          </a:innerShdw>
        </a:effectLst>
      </dgm:spPr>
      <dgm:t>
        <a:bodyPr/>
        <a:lstStyle/>
        <a:p>
          <a:endParaRPr lang="ru-RU"/>
        </a:p>
      </dgm:t>
    </dgm:pt>
    <dgm:pt modelId="{A3D4675D-6438-4A2D-AD82-ACB7A9ACAD5B}" type="pres">
      <dgm:prSet presAssocID="{7072E125-2940-48D0-9738-A57B40638C2B}" presName="text_5" presStyleLbl="node1" presStyleIdx="4" presStyleCnt="6" custScaleX="85512" custScaleY="139911" custLinFactNeighborX="-5606" custLinFactNeighborY="31309">
        <dgm:presLayoutVars>
          <dgm:bulletEnabled val="1"/>
        </dgm:presLayoutVars>
      </dgm:prSet>
      <dgm:spPr/>
      <dgm:t>
        <a:bodyPr/>
        <a:lstStyle/>
        <a:p>
          <a:endParaRPr lang="ru-RU"/>
        </a:p>
      </dgm:t>
    </dgm:pt>
    <dgm:pt modelId="{3368B2FC-1463-43F4-88A2-39B8704EF55C}" type="pres">
      <dgm:prSet presAssocID="{7072E125-2940-48D0-9738-A57B40638C2B}" presName="accent_5" presStyleCnt="0"/>
      <dgm:spPr/>
    </dgm:pt>
    <dgm:pt modelId="{47BBF189-D5FC-4870-8213-0C3925E3106E}" type="pres">
      <dgm:prSet presAssocID="{7072E125-2940-48D0-9738-A57B40638C2B}" presName="accentRepeatNode" presStyleLbl="solidFgAcc1" presStyleIdx="4" presStyleCnt="6" custScaleX="114906" custScaleY="106305" custLinFactNeighborX="-20076" custLinFactNeighborY="16426"/>
      <dgm:spPr>
        <a:solidFill>
          <a:schemeClr val="bg1"/>
        </a:solidFill>
        <a:ln w="3175">
          <a:solidFill>
            <a:srgbClr val="002060"/>
          </a:solidFill>
        </a:ln>
        <a:effectLst>
          <a:innerShdw blurRad="63500" dist="50800" dir="8100000">
            <a:prstClr val="black">
              <a:alpha val="50000"/>
            </a:prstClr>
          </a:innerShdw>
        </a:effectLst>
      </dgm:spPr>
      <dgm:t>
        <a:bodyPr/>
        <a:lstStyle/>
        <a:p>
          <a:endParaRPr lang="ru-RU"/>
        </a:p>
      </dgm:t>
    </dgm:pt>
    <dgm:pt modelId="{585CFB9F-3C0D-4C13-9BCF-764C5DF98FE7}" type="pres">
      <dgm:prSet presAssocID="{97E4BC4D-A719-4D31-BECD-1B781319F102}" presName="text_6" presStyleLbl="node1" presStyleIdx="5" presStyleCnt="6" custScaleX="83570" custScaleY="115335" custLinFactNeighborX="-4178" custLinFactNeighborY="20575">
        <dgm:presLayoutVars>
          <dgm:bulletEnabled val="1"/>
        </dgm:presLayoutVars>
      </dgm:prSet>
      <dgm:spPr/>
      <dgm:t>
        <a:bodyPr/>
        <a:lstStyle/>
        <a:p>
          <a:endParaRPr lang="ru-RU"/>
        </a:p>
      </dgm:t>
    </dgm:pt>
    <dgm:pt modelId="{673109D6-7113-475C-A1D1-5A8BCEBD626D}" type="pres">
      <dgm:prSet presAssocID="{97E4BC4D-A719-4D31-BECD-1B781319F102}" presName="accent_6" presStyleCnt="0"/>
      <dgm:spPr/>
    </dgm:pt>
    <dgm:pt modelId="{05310DB9-52EA-4F4E-863B-2764AC4AF769}" type="pres">
      <dgm:prSet presAssocID="{97E4BC4D-A719-4D31-BECD-1B781319F102}" presName="accentRepeatNode" presStyleLbl="solidFgAcc1" presStyleIdx="5" presStyleCnt="6" custScaleX="112245" custScaleY="101375" custLinFactNeighborX="37838" custLinFactNeighborY="11907"/>
      <dgm:spPr>
        <a:solidFill>
          <a:schemeClr val="bg1"/>
        </a:solidFill>
        <a:ln w="3175">
          <a:solidFill>
            <a:srgbClr val="002060"/>
          </a:solidFill>
        </a:ln>
        <a:effectLst>
          <a:innerShdw blurRad="63500" dist="50800" dir="8100000">
            <a:prstClr val="black">
              <a:alpha val="50000"/>
            </a:prstClr>
          </a:innerShdw>
        </a:effectLst>
      </dgm:spPr>
      <dgm:t>
        <a:bodyPr/>
        <a:lstStyle/>
        <a:p>
          <a:endParaRPr lang="ru-RU"/>
        </a:p>
      </dgm:t>
    </dgm:pt>
  </dgm:ptLst>
  <dgm:cxnLst>
    <dgm:cxn modelId="{F87A256D-5FA6-4F47-AF73-AC554CB67C6C}" type="presOf" srcId="{0F932AD5-59E3-4CF4-ACE9-FEF475C91AC2}" destId="{CD36CDEF-10A3-4951-97FF-62A51E385E9B}" srcOrd="0" destOrd="0" presId="urn:microsoft.com/office/officeart/2008/layout/VerticalCurvedList"/>
    <dgm:cxn modelId="{7E773C62-6011-4CCD-925B-AB7752E9952F}" srcId="{3FAC081C-885C-460E-8C03-65A988C6EC34}" destId="{7E8FE32D-6D36-45A2-AA70-2B93733016A1}" srcOrd="1" destOrd="0" parTransId="{B62DBA68-5466-41A5-B98F-6E84932B7BF1}" sibTransId="{21D555A3-2539-4A29-94E3-918DBC1995E6}"/>
    <dgm:cxn modelId="{231713BE-F218-415B-932D-BDEC7801E8B9}" type="presOf" srcId="{7A278358-127C-47CD-8F05-194AAE7C8A13}" destId="{821D417C-A89B-44E2-9456-712ABE7A2026}" srcOrd="0" destOrd="0" presId="urn:microsoft.com/office/officeart/2008/layout/VerticalCurvedList"/>
    <dgm:cxn modelId="{4B3355BE-314C-4A46-BF07-8B54E3664A6B}" srcId="{3FAC081C-885C-460E-8C03-65A988C6EC34}" destId="{79EF1F8E-FE51-4EDD-B493-745CE1B4BFEA}" srcOrd="3" destOrd="0" parTransId="{3F2C4872-D0D4-4E39-91DF-D42CC7E9661E}" sibTransId="{7BA7D4F9-1D90-4FE8-BDCA-C4A9F69A70B0}"/>
    <dgm:cxn modelId="{7370CBF6-5A58-442B-BC49-DFDF62295EBA}" srcId="{3FAC081C-885C-460E-8C03-65A988C6EC34}" destId="{7072E125-2940-48D0-9738-A57B40638C2B}" srcOrd="4" destOrd="0" parTransId="{79E7A167-8468-4EE9-9580-0E0E2CB9CED5}" sibTransId="{C799ADF0-9FEA-4DC3-8870-8FB66A9FF4FE}"/>
    <dgm:cxn modelId="{5574C6C4-557F-49FD-A063-A653C654C064}" type="presOf" srcId="{7072E125-2940-48D0-9738-A57B40638C2B}" destId="{A3D4675D-6438-4A2D-AD82-ACB7A9ACAD5B}" srcOrd="0" destOrd="0" presId="urn:microsoft.com/office/officeart/2008/layout/VerticalCurvedList"/>
    <dgm:cxn modelId="{A3E8682F-A509-4C4E-9051-E6A7C03DD430}" type="presOf" srcId="{97E4BC4D-A719-4D31-BECD-1B781319F102}" destId="{585CFB9F-3C0D-4C13-9BCF-764C5DF98FE7}" srcOrd="0" destOrd="0" presId="urn:microsoft.com/office/officeart/2008/layout/VerticalCurvedList"/>
    <dgm:cxn modelId="{4EB9CEED-DE27-438C-AF74-4DD9BFB1E92A}" type="presOf" srcId="{AC0D2A7B-FD2B-4419-993A-7DBF4556DF5D}" destId="{040A411F-B272-4687-9D45-3F77A11E2970}" srcOrd="0" destOrd="0" presId="urn:microsoft.com/office/officeart/2008/layout/VerticalCurvedList"/>
    <dgm:cxn modelId="{A250948E-9CC9-4971-8447-6615413BD568}" type="presOf" srcId="{3FAC081C-885C-460E-8C03-65A988C6EC34}" destId="{272FAE00-F862-483A-A39B-9911798ECAF7}" srcOrd="0" destOrd="0" presId="urn:microsoft.com/office/officeart/2008/layout/VerticalCurvedList"/>
    <dgm:cxn modelId="{C12EBC5A-6EAC-4E9F-994C-00FC773FBF24}" srcId="{3FAC081C-885C-460E-8C03-65A988C6EC34}" destId="{AC0D2A7B-FD2B-4419-993A-7DBF4556DF5D}" srcOrd="0" destOrd="0" parTransId="{A99A0CA9-0FC7-4D2D-9F60-6F26CDC3CF98}" sibTransId="{7A278358-127C-47CD-8F05-194AAE7C8A13}"/>
    <dgm:cxn modelId="{3B1A4B4E-B0C9-485E-A945-B25FF35569FC}" srcId="{3FAC081C-885C-460E-8C03-65A988C6EC34}" destId="{97E4BC4D-A719-4D31-BECD-1B781319F102}" srcOrd="5" destOrd="0" parTransId="{70208E9B-BBDD-47C5-88B8-4281CFFDCC6C}" sibTransId="{578D2025-B629-4E93-9266-3501FD5580C0}"/>
    <dgm:cxn modelId="{62833FF8-735D-4AD1-9CB5-FD403C280A2D}" type="presOf" srcId="{7E8FE32D-6D36-45A2-AA70-2B93733016A1}" destId="{010668E2-12F8-4BDF-882A-CD08E437616E}" srcOrd="0" destOrd="0" presId="urn:microsoft.com/office/officeart/2008/layout/VerticalCurvedList"/>
    <dgm:cxn modelId="{C75E0916-66D4-49C8-AE1C-99AFCE3FC444}" srcId="{3FAC081C-885C-460E-8C03-65A988C6EC34}" destId="{0F932AD5-59E3-4CF4-ACE9-FEF475C91AC2}" srcOrd="2" destOrd="0" parTransId="{CB16ACD0-9F6C-46C3-81BD-F30A3697C329}" sibTransId="{4C0633BB-120D-4476-8669-7D2C220E9F8B}"/>
    <dgm:cxn modelId="{188CF952-DBE4-4BA5-94AC-23B05BA7C7D5}" type="presOf" srcId="{79EF1F8E-FE51-4EDD-B493-745CE1B4BFEA}" destId="{CDC22D74-E8E2-4F38-B8B3-FF1999BB9A90}" srcOrd="0" destOrd="0" presId="urn:microsoft.com/office/officeart/2008/layout/VerticalCurvedList"/>
    <dgm:cxn modelId="{815FCCC3-DC99-4C61-8DF6-F018E4A180F1}" type="presParOf" srcId="{272FAE00-F862-483A-A39B-9911798ECAF7}" destId="{1859520A-49DA-43D3-BC21-358EF003846B}" srcOrd="0" destOrd="0" presId="urn:microsoft.com/office/officeart/2008/layout/VerticalCurvedList"/>
    <dgm:cxn modelId="{03FD42CB-25FA-4022-B800-39323AEE91CC}" type="presParOf" srcId="{1859520A-49DA-43D3-BC21-358EF003846B}" destId="{98CEAC48-8D2B-4B49-8B88-9B9E27DAF101}" srcOrd="0" destOrd="0" presId="urn:microsoft.com/office/officeart/2008/layout/VerticalCurvedList"/>
    <dgm:cxn modelId="{A54F0D97-657B-4DF6-87C5-D829A12DFF00}" type="presParOf" srcId="{98CEAC48-8D2B-4B49-8B88-9B9E27DAF101}" destId="{F89DFC4B-684C-4635-A3A7-7D659A6615C1}" srcOrd="0" destOrd="0" presId="urn:microsoft.com/office/officeart/2008/layout/VerticalCurvedList"/>
    <dgm:cxn modelId="{45487EED-07BD-4E53-9B6E-7BCBD138E147}" type="presParOf" srcId="{98CEAC48-8D2B-4B49-8B88-9B9E27DAF101}" destId="{821D417C-A89B-44E2-9456-712ABE7A2026}" srcOrd="1" destOrd="0" presId="urn:microsoft.com/office/officeart/2008/layout/VerticalCurvedList"/>
    <dgm:cxn modelId="{0F34EC6F-B28E-4978-90C5-B3CB6A05E3A2}" type="presParOf" srcId="{98CEAC48-8D2B-4B49-8B88-9B9E27DAF101}" destId="{52CC7FBA-19E8-4767-9244-A1A79F0EC9B8}" srcOrd="2" destOrd="0" presId="urn:microsoft.com/office/officeart/2008/layout/VerticalCurvedList"/>
    <dgm:cxn modelId="{84DEC406-8966-49B8-8318-663B0EF4957E}" type="presParOf" srcId="{98CEAC48-8D2B-4B49-8B88-9B9E27DAF101}" destId="{8308875D-C9F2-4C91-ACC3-11766FB1F86F}" srcOrd="3" destOrd="0" presId="urn:microsoft.com/office/officeart/2008/layout/VerticalCurvedList"/>
    <dgm:cxn modelId="{6568708A-FBA6-4B8E-B23D-298F92430E05}" type="presParOf" srcId="{1859520A-49DA-43D3-BC21-358EF003846B}" destId="{040A411F-B272-4687-9D45-3F77A11E2970}" srcOrd="1" destOrd="0" presId="urn:microsoft.com/office/officeart/2008/layout/VerticalCurvedList"/>
    <dgm:cxn modelId="{5C1ADEA3-E2E2-4DBE-95D5-C8B01069F247}" type="presParOf" srcId="{1859520A-49DA-43D3-BC21-358EF003846B}" destId="{23A2151E-850D-4E63-9DE8-93BAFE7C7A18}" srcOrd="2" destOrd="0" presId="urn:microsoft.com/office/officeart/2008/layout/VerticalCurvedList"/>
    <dgm:cxn modelId="{951E8549-0E18-43D8-BD20-A9D41AB457BE}" type="presParOf" srcId="{23A2151E-850D-4E63-9DE8-93BAFE7C7A18}" destId="{607C80D8-2CFC-4F51-A4BC-76FD94A42073}" srcOrd="0" destOrd="0" presId="urn:microsoft.com/office/officeart/2008/layout/VerticalCurvedList"/>
    <dgm:cxn modelId="{264C46B7-AA1A-403D-8C57-DEE0BC348726}" type="presParOf" srcId="{1859520A-49DA-43D3-BC21-358EF003846B}" destId="{010668E2-12F8-4BDF-882A-CD08E437616E}" srcOrd="3" destOrd="0" presId="urn:microsoft.com/office/officeart/2008/layout/VerticalCurvedList"/>
    <dgm:cxn modelId="{B8280993-8D58-4067-B013-C9D9CA194506}" type="presParOf" srcId="{1859520A-49DA-43D3-BC21-358EF003846B}" destId="{9BD181C9-7A67-45D5-9A20-DD777C343FBF}" srcOrd="4" destOrd="0" presId="urn:microsoft.com/office/officeart/2008/layout/VerticalCurvedList"/>
    <dgm:cxn modelId="{3F66E404-43E3-48E4-A0AD-ADE531C89F97}" type="presParOf" srcId="{9BD181C9-7A67-45D5-9A20-DD777C343FBF}" destId="{F5CCCCB3-2338-4CA8-BAAF-557543FEE767}" srcOrd="0" destOrd="0" presId="urn:microsoft.com/office/officeart/2008/layout/VerticalCurvedList"/>
    <dgm:cxn modelId="{9FD871BA-2FA5-4D6B-89F9-08B926246FCF}" type="presParOf" srcId="{1859520A-49DA-43D3-BC21-358EF003846B}" destId="{CD36CDEF-10A3-4951-97FF-62A51E385E9B}" srcOrd="5" destOrd="0" presId="urn:microsoft.com/office/officeart/2008/layout/VerticalCurvedList"/>
    <dgm:cxn modelId="{7177C0B0-3E9C-4D25-AA9F-2D60CCD3426A}" type="presParOf" srcId="{1859520A-49DA-43D3-BC21-358EF003846B}" destId="{C080A79C-537A-4527-B568-B0FA8958D295}" srcOrd="6" destOrd="0" presId="urn:microsoft.com/office/officeart/2008/layout/VerticalCurvedList"/>
    <dgm:cxn modelId="{25C3B6AC-C34C-4646-8618-DA8DEB94CB6A}" type="presParOf" srcId="{C080A79C-537A-4527-B568-B0FA8958D295}" destId="{36DCBD3C-E704-49F0-94BE-4EAD78C326FB}" srcOrd="0" destOrd="0" presId="urn:microsoft.com/office/officeart/2008/layout/VerticalCurvedList"/>
    <dgm:cxn modelId="{886F15F6-6D49-4074-AA9A-8571DAFDCD66}" type="presParOf" srcId="{1859520A-49DA-43D3-BC21-358EF003846B}" destId="{CDC22D74-E8E2-4F38-B8B3-FF1999BB9A90}" srcOrd="7" destOrd="0" presId="urn:microsoft.com/office/officeart/2008/layout/VerticalCurvedList"/>
    <dgm:cxn modelId="{B7D54591-6879-43D7-9972-DF937F8FF456}" type="presParOf" srcId="{1859520A-49DA-43D3-BC21-358EF003846B}" destId="{171481D3-B2E3-40D0-84BB-78C5314C8E9B}" srcOrd="8" destOrd="0" presId="urn:microsoft.com/office/officeart/2008/layout/VerticalCurvedList"/>
    <dgm:cxn modelId="{09B21B61-6EE4-4321-ABFA-4C056AA19951}" type="presParOf" srcId="{171481D3-B2E3-40D0-84BB-78C5314C8E9B}" destId="{F3DBB779-D7F8-4B2F-96A9-089122992CB0}" srcOrd="0" destOrd="0" presId="urn:microsoft.com/office/officeart/2008/layout/VerticalCurvedList"/>
    <dgm:cxn modelId="{B83E351D-E81A-4B3E-A4EF-1EADC7A9B1EE}" type="presParOf" srcId="{1859520A-49DA-43D3-BC21-358EF003846B}" destId="{A3D4675D-6438-4A2D-AD82-ACB7A9ACAD5B}" srcOrd="9" destOrd="0" presId="urn:microsoft.com/office/officeart/2008/layout/VerticalCurvedList"/>
    <dgm:cxn modelId="{A1F6188F-BFE5-4725-A749-7BCCF29DC2AE}" type="presParOf" srcId="{1859520A-49DA-43D3-BC21-358EF003846B}" destId="{3368B2FC-1463-43F4-88A2-39B8704EF55C}" srcOrd="10" destOrd="0" presId="urn:microsoft.com/office/officeart/2008/layout/VerticalCurvedList"/>
    <dgm:cxn modelId="{77055132-C86E-430F-83B3-91F4E7121E15}" type="presParOf" srcId="{3368B2FC-1463-43F4-88A2-39B8704EF55C}" destId="{47BBF189-D5FC-4870-8213-0C3925E3106E}" srcOrd="0" destOrd="0" presId="urn:microsoft.com/office/officeart/2008/layout/VerticalCurvedList"/>
    <dgm:cxn modelId="{3827EBCE-A179-4162-AC4C-068D79F6A60C}" type="presParOf" srcId="{1859520A-49DA-43D3-BC21-358EF003846B}" destId="{585CFB9F-3C0D-4C13-9BCF-764C5DF98FE7}" srcOrd="11" destOrd="0" presId="urn:microsoft.com/office/officeart/2008/layout/VerticalCurvedList"/>
    <dgm:cxn modelId="{85612874-B21C-4C32-AE3A-42A252C43BCD}" type="presParOf" srcId="{1859520A-49DA-43D3-BC21-358EF003846B}" destId="{673109D6-7113-475C-A1D1-5A8BCEBD626D}" srcOrd="12" destOrd="0" presId="urn:microsoft.com/office/officeart/2008/layout/VerticalCurvedList"/>
    <dgm:cxn modelId="{7D97C73C-1B6C-44B4-9EBC-89C48AD1D91D}" type="presParOf" srcId="{673109D6-7113-475C-A1D1-5A8BCEBD626D}" destId="{05310DB9-52EA-4F4E-863B-2764AC4AF769}" srcOrd="0" destOrd="0" presId="urn:microsoft.com/office/officeart/2008/layout/VerticalCurvedList"/>
  </dgm:cxnLst>
  <dgm:bg/>
  <dgm:whole>
    <a:ln w="3175"/>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1D417C-A89B-44E2-9456-712ABE7A2026}">
      <dsp:nvSpPr>
        <dsp:cNvPr id="0" name=""/>
        <dsp:cNvSpPr/>
      </dsp:nvSpPr>
      <dsp:spPr>
        <a:xfrm>
          <a:off x="-5226603" y="-780232"/>
          <a:ext cx="6537134" cy="7656463"/>
        </a:xfrm>
        <a:prstGeom prst="blockArc">
          <a:avLst>
            <a:gd name="adj1" fmla="val 18900000"/>
            <a:gd name="adj2" fmla="val 2700000"/>
            <a:gd name="adj3" fmla="val 263"/>
          </a:avLst>
        </a:prstGeom>
        <a:solidFill>
          <a:schemeClr val="accent1">
            <a:lumMod val="40000"/>
            <a:lumOff val="60000"/>
          </a:schemeClr>
        </a:solidFill>
        <a:ln w="3175" cap="flat" cmpd="sng" algn="ctr">
          <a:solidFill>
            <a:srgbClr val="002060"/>
          </a:solidFill>
          <a:prstDash val="solid"/>
          <a:miter lim="800000"/>
        </a:ln>
        <a:effectLst/>
      </dsp:spPr>
      <dsp:style>
        <a:lnRef idx="2">
          <a:scrgbClr r="0" g="0" b="0"/>
        </a:lnRef>
        <a:fillRef idx="0">
          <a:scrgbClr r="0" g="0" b="0"/>
        </a:fillRef>
        <a:effectRef idx="0">
          <a:scrgbClr r="0" g="0" b="0"/>
        </a:effectRef>
        <a:fontRef idx="minor"/>
      </dsp:style>
    </dsp:sp>
    <dsp:sp modelId="{040A411F-B272-4687-9D45-3F77A11E2970}">
      <dsp:nvSpPr>
        <dsp:cNvPr id="0" name=""/>
        <dsp:cNvSpPr/>
      </dsp:nvSpPr>
      <dsp:spPr>
        <a:xfrm>
          <a:off x="1085405" y="278253"/>
          <a:ext cx="6966573" cy="893264"/>
        </a:xfrm>
        <a:prstGeom prst="rect">
          <a:avLst/>
        </a:prstGeom>
        <a:solidFill>
          <a:schemeClr val="accent1">
            <a:lumMod val="40000"/>
            <a:lumOff val="60000"/>
          </a:schemeClr>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a:schemeClr val="lt1"/>
        </a:fontRef>
      </dsp:style>
      <dsp:txBody>
        <a:bodyPr spcFirstLastPara="0" vert="horz" wrap="square" lIns="509418" tIns="40640" rIns="40640" bIns="40640" numCol="1" spcCol="1270" anchor="ctr" anchorCtr="0">
          <a:noAutofit/>
        </a:bodyPr>
        <a:lstStyle/>
        <a:p>
          <a:pPr lvl="0" algn="l" defTabSz="711200">
            <a:lnSpc>
              <a:spcPct val="90000"/>
            </a:lnSpc>
            <a:spcBef>
              <a:spcPct val="0"/>
            </a:spcBef>
            <a:spcAft>
              <a:spcPct val="35000"/>
            </a:spcAft>
          </a:pPr>
          <a:r>
            <a:rPr lang="ru-RU" sz="1600" b="0" kern="1200" dirty="0" err="1" smtClean="0">
              <a:solidFill>
                <a:schemeClr val="tx1"/>
              </a:solidFill>
              <a:latin typeface="Arial Narrow" pitchFamily="34" charset="0"/>
              <a:cs typeface="Arial" pitchFamily="34" charset="0"/>
            </a:rPr>
            <a:t>Жергілікті</a:t>
          </a:r>
          <a:r>
            <a:rPr lang="ru-RU" sz="1600" b="0" kern="1200" dirty="0" smtClean="0">
              <a:solidFill>
                <a:schemeClr val="tx1"/>
              </a:solidFill>
              <a:latin typeface="Arial Narrow" pitchFamily="34" charset="0"/>
              <a:cs typeface="Arial" pitchFamily="34" charset="0"/>
            </a:rPr>
            <a:t> бюджет </a:t>
          </a:r>
          <a:r>
            <a:rPr lang="ru-RU" sz="1600" b="0" kern="1200" dirty="0" err="1" smtClean="0">
              <a:solidFill>
                <a:schemeClr val="tx1"/>
              </a:solidFill>
              <a:latin typeface="Arial Narrow" pitchFamily="34" charset="0"/>
              <a:cs typeface="Arial" pitchFamily="34" charset="0"/>
            </a:rPr>
            <a:t>қаражаты</a:t>
          </a:r>
          <a:r>
            <a:rPr lang="ru-RU" sz="1600" b="0" kern="1200" dirty="0" smtClean="0">
              <a:solidFill>
                <a:schemeClr val="tx1"/>
              </a:solidFill>
              <a:latin typeface="Arial Narrow" pitchFamily="34" charset="0"/>
              <a:cs typeface="Arial" pitchFamily="34" charset="0"/>
            </a:rPr>
            <a:t> </a:t>
          </a:r>
          <a:r>
            <a:rPr lang="ru-RU" sz="1600" b="0" kern="1200" dirty="0" err="1" smtClean="0">
              <a:solidFill>
                <a:schemeClr val="tx1"/>
              </a:solidFill>
              <a:latin typeface="Arial Narrow" pitchFamily="34" charset="0"/>
              <a:cs typeface="Arial" pitchFamily="34" charset="0"/>
            </a:rPr>
            <a:t>есебінен</a:t>
          </a:r>
          <a:r>
            <a:rPr lang="ru-RU" sz="1600" b="0" kern="1200" dirty="0" smtClean="0">
              <a:solidFill>
                <a:schemeClr val="tx1"/>
              </a:solidFill>
              <a:latin typeface="Arial Narrow" pitchFamily="34" charset="0"/>
              <a:cs typeface="Arial" pitchFamily="34" charset="0"/>
            </a:rPr>
            <a:t>  </a:t>
          </a:r>
          <a:r>
            <a:rPr lang="ru-RU" sz="1600" b="1" kern="1200" dirty="0" smtClean="0">
              <a:solidFill>
                <a:schemeClr val="tx1"/>
              </a:solidFill>
              <a:latin typeface="Arial Narrow" pitchFamily="34" charset="0"/>
              <a:cs typeface="Arial" pitchFamily="34" charset="0"/>
            </a:rPr>
            <a:t>БІРІҢҒАЙ СӘУЛЕТТІК КӨРІК (</a:t>
          </a:r>
          <a:r>
            <a:rPr lang="ru-RU" sz="1600" b="1" kern="1200" dirty="0" err="1" smtClean="0">
              <a:solidFill>
                <a:schemeClr val="tx1"/>
              </a:solidFill>
              <a:latin typeface="Arial Narrow" pitchFamily="34" charset="0"/>
              <a:cs typeface="Arial" pitchFamily="34" charset="0"/>
            </a:rPr>
            <a:t>қасбет</a:t>
          </a:r>
          <a:r>
            <a:rPr lang="ru-RU" sz="1600" b="1" kern="1200" dirty="0" smtClean="0">
              <a:solidFill>
                <a:schemeClr val="tx1"/>
              </a:solidFill>
              <a:latin typeface="Arial Narrow" pitchFamily="34" charset="0"/>
              <a:cs typeface="Arial" pitchFamily="34" charset="0"/>
            </a:rPr>
            <a:t>) </a:t>
          </a:r>
          <a:r>
            <a:rPr lang="ru-RU" sz="1600" b="0" kern="1200" dirty="0" smtClean="0">
              <a:solidFill>
                <a:schemeClr val="tx1"/>
              </a:solidFill>
              <a:latin typeface="Arial Narrow" pitchFamily="34" charset="0"/>
              <a:cs typeface="Arial" pitchFamily="34" charset="0"/>
            </a:rPr>
            <a:t>беру </a:t>
          </a:r>
          <a:r>
            <a:rPr lang="ru-RU" sz="1600" b="0" kern="1200" dirty="0" err="1" smtClean="0">
              <a:solidFill>
                <a:schemeClr val="tx1"/>
              </a:solidFill>
              <a:latin typeface="Arial Narrow" pitchFamily="34" charset="0"/>
              <a:cs typeface="Arial" pitchFamily="34" charset="0"/>
            </a:rPr>
            <a:t>үшін</a:t>
          </a:r>
          <a:r>
            <a:rPr lang="ru-RU" sz="1600" b="0" kern="1200" dirty="0" smtClean="0">
              <a:solidFill>
                <a:schemeClr val="tx1"/>
              </a:solidFill>
              <a:latin typeface="Arial Narrow" pitchFamily="34" charset="0"/>
              <a:cs typeface="Arial" pitchFamily="34" charset="0"/>
            </a:rPr>
            <a:t> </a:t>
          </a:r>
          <a:r>
            <a:rPr lang="ru-RU" sz="1600" b="0" kern="1200" dirty="0" err="1" smtClean="0">
              <a:solidFill>
                <a:schemeClr val="tx1"/>
              </a:solidFill>
              <a:latin typeface="Arial Narrow" pitchFamily="34" charset="0"/>
              <a:cs typeface="Arial" pitchFamily="34" charset="0"/>
            </a:rPr>
            <a:t>көппәтерлі</a:t>
          </a:r>
          <a:r>
            <a:rPr lang="ru-RU" sz="1600" b="0" kern="1200" dirty="0" smtClean="0">
              <a:solidFill>
                <a:schemeClr val="tx1"/>
              </a:solidFill>
              <a:latin typeface="Arial Narrow" pitchFamily="34" charset="0"/>
              <a:cs typeface="Arial" pitchFamily="34" charset="0"/>
            </a:rPr>
            <a:t> </a:t>
          </a:r>
          <a:r>
            <a:rPr lang="ru-RU" sz="1600" b="0" kern="1200" dirty="0" err="1" smtClean="0">
              <a:solidFill>
                <a:schemeClr val="tx1"/>
              </a:solidFill>
              <a:latin typeface="Arial Narrow" pitchFamily="34" charset="0"/>
              <a:cs typeface="Arial" pitchFamily="34" charset="0"/>
            </a:rPr>
            <a:t>тұрғын</a:t>
          </a:r>
          <a:r>
            <a:rPr lang="ru-RU" sz="1600" b="0" kern="1200" dirty="0" smtClean="0">
              <a:solidFill>
                <a:schemeClr val="tx1"/>
              </a:solidFill>
              <a:latin typeface="Arial Narrow" pitchFamily="34" charset="0"/>
              <a:cs typeface="Arial" pitchFamily="34" charset="0"/>
            </a:rPr>
            <a:t> </a:t>
          </a:r>
          <a:r>
            <a:rPr lang="ru-RU" sz="1600" b="0" kern="1200" dirty="0" err="1" smtClean="0">
              <a:solidFill>
                <a:schemeClr val="tx1"/>
              </a:solidFill>
              <a:latin typeface="Arial Narrow" pitchFamily="34" charset="0"/>
              <a:cs typeface="Arial" pitchFamily="34" charset="0"/>
            </a:rPr>
            <a:t>үйлердің</a:t>
          </a:r>
          <a:r>
            <a:rPr lang="ru-RU" sz="1600" b="0" kern="1200" dirty="0" smtClean="0">
              <a:solidFill>
                <a:schemeClr val="tx1"/>
              </a:solidFill>
              <a:latin typeface="Arial Narrow" pitchFamily="34" charset="0"/>
              <a:cs typeface="Arial" pitchFamily="34" charset="0"/>
            </a:rPr>
            <a:t> </a:t>
          </a:r>
          <a:r>
            <a:rPr lang="ru-RU" sz="1600" b="0" kern="1200" dirty="0" err="1" smtClean="0">
              <a:solidFill>
                <a:schemeClr val="tx1"/>
              </a:solidFill>
              <a:latin typeface="Arial Narrow" pitchFamily="34" charset="0"/>
              <a:cs typeface="Arial" pitchFamily="34" charset="0"/>
            </a:rPr>
            <a:t>тізбесін</a:t>
          </a:r>
          <a:r>
            <a:rPr lang="ru-RU" sz="1600" b="0" kern="1200" dirty="0" smtClean="0">
              <a:solidFill>
                <a:schemeClr val="tx1"/>
              </a:solidFill>
              <a:latin typeface="Arial Narrow" pitchFamily="34" charset="0"/>
              <a:cs typeface="Arial" pitchFamily="34" charset="0"/>
            </a:rPr>
            <a:t> </a:t>
          </a:r>
          <a:r>
            <a:rPr lang="ru-RU" sz="1600" b="0" kern="1200" dirty="0" err="1" smtClean="0">
              <a:solidFill>
                <a:schemeClr val="tx1"/>
              </a:solidFill>
              <a:latin typeface="Arial Narrow" pitchFamily="34" charset="0"/>
              <a:cs typeface="Arial" pitchFamily="34" charset="0"/>
            </a:rPr>
            <a:t>анықтайды</a:t>
          </a:r>
          <a:r>
            <a:rPr lang="ru-RU" sz="1600" b="0" kern="1200" dirty="0" smtClean="0">
              <a:solidFill>
                <a:schemeClr val="tx1"/>
              </a:solidFill>
              <a:latin typeface="Arial Narrow" pitchFamily="34" charset="0"/>
              <a:cs typeface="Arial" pitchFamily="34" charset="0"/>
            </a:rPr>
            <a:t>. </a:t>
          </a:r>
          <a:endParaRPr lang="ru-RU" sz="1600" b="0" kern="1200" dirty="0">
            <a:solidFill>
              <a:schemeClr val="tx1"/>
            </a:solidFill>
          </a:endParaRPr>
        </a:p>
      </dsp:txBody>
      <dsp:txXfrm>
        <a:off x="1085405" y="278253"/>
        <a:ext cx="6966573" cy="893264"/>
      </dsp:txXfrm>
    </dsp:sp>
    <dsp:sp modelId="{607C80D8-2CFC-4F51-A4BC-76FD94A42073}">
      <dsp:nvSpPr>
        <dsp:cNvPr id="0" name=""/>
        <dsp:cNvSpPr/>
      </dsp:nvSpPr>
      <dsp:spPr>
        <a:xfrm>
          <a:off x="597581" y="308295"/>
          <a:ext cx="878317" cy="882031"/>
        </a:xfrm>
        <a:prstGeom prst="ellipse">
          <a:avLst/>
        </a:prstGeom>
        <a:solidFill>
          <a:schemeClr val="bg1"/>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dsp:style>
    </dsp:sp>
    <dsp:sp modelId="{010668E2-12F8-4BDF-882A-CD08E437616E}">
      <dsp:nvSpPr>
        <dsp:cNvPr id="0" name=""/>
        <dsp:cNvSpPr/>
      </dsp:nvSpPr>
      <dsp:spPr>
        <a:xfrm>
          <a:off x="1399123" y="1348695"/>
          <a:ext cx="6652844" cy="768257"/>
        </a:xfrm>
        <a:prstGeom prst="rect">
          <a:avLst/>
        </a:prstGeom>
        <a:solidFill>
          <a:schemeClr val="accent1">
            <a:lumMod val="40000"/>
            <a:lumOff val="60000"/>
          </a:schemeClr>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a:schemeClr val="lt1"/>
        </a:fontRef>
      </dsp:style>
      <dsp:txBody>
        <a:bodyPr spcFirstLastPara="0" vert="horz" wrap="square" lIns="509418" tIns="40640" rIns="40640" bIns="4064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tx1"/>
              </a:solidFill>
              <a:latin typeface="Arial Narrow" pitchFamily="34" charset="0"/>
            </a:rPr>
            <a:t>СУ БАСУ ҚАУПІ БАР АЙМАҚТАРДА </a:t>
          </a:r>
          <a:r>
            <a:rPr lang="ru-RU" sz="1600" b="0" kern="1200" dirty="0" err="1" smtClean="0">
              <a:solidFill>
                <a:schemeClr val="tx1"/>
              </a:solidFill>
              <a:latin typeface="Arial Narrow" pitchFamily="34" charset="0"/>
            </a:rPr>
            <a:t>тұрғын</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үйлердің</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тұрақтылығын</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нығайту</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шараларын</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жүзеге</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асыруды</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қаржыландырады</a:t>
          </a:r>
          <a:endParaRPr lang="ru-RU" sz="1600" b="0" kern="1200" dirty="0">
            <a:solidFill>
              <a:schemeClr val="tx1"/>
            </a:solidFill>
          </a:endParaRPr>
        </a:p>
      </dsp:txBody>
      <dsp:txXfrm>
        <a:off x="1399123" y="1348695"/>
        <a:ext cx="6652844" cy="768257"/>
      </dsp:txXfrm>
    </dsp:sp>
    <dsp:sp modelId="{F5CCCCB3-2338-4CA8-BAAF-557543FEE767}">
      <dsp:nvSpPr>
        <dsp:cNvPr id="0" name=""/>
        <dsp:cNvSpPr/>
      </dsp:nvSpPr>
      <dsp:spPr>
        <a:xfrm>
          <a:off x="785058" y="1303063"/>
          <a:ext cx="896030" cy="877426"/>
        </a:xfrm>
        <a:prstGeom prst="ellipse">
          <a:avLst/>
        </a:prstGeom>
        <a:solidFill>
          <a:schemeClr val="bg1"/>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dsp:style>
    </dsp:sp>
    <dsp:sp modelId="{CD36CDEF-10A3-4951-97FF-62A51E385E9B}">
      <dsp:nvSpPr>
        <dsp:cNvPr id="0" name=""/>
        <dsp:cNvSpPr/>
      </dsp:nvSpPr>
      <dsp:spPr>
        <a:xfrm>
          <a:off x="1349963" y="2345836"/>
          <a:ext cx="6729090" cy="708166"/>
        </a:xfrm>
        <a:prstGeom prst="rect">
          <a:avLst/>
        </a:prstGeom>
        <a:solidFill>
          <a:schemeClr val="accent1">
            <a:lumMod val="40000"/>
            <a:lumOff val="60000"/>
          </a:schemeClr>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a:schemeClr val="lt1"/>
        </a:fontRef>
      </dsp:style>
      <dsp:txBody>
        <a:bodyPr spcFirstLastPara="0" vert="horz" wrap="square" lIns="509418" tIns="40640" rIns="40640" bIns="40640" numCol="1" spcCol="1270" anchor="ctr" anchorCtr="0">
          <a:noAutofit/>
        </a:bodyPr>
        <a:lstStyle/>
        <a:p>
          <a:pPr lvl="0" algn="l" defTabSz="711200">
            <a:lnSpc>
              <a:spcPct val="90000"/>
            </a:lnSpc>
            <a:spcBef>
              <a:spcPct val="0"/>
            </a:spcBef>
            <a:spcAft>
              <a:spcPts val="0"/>
            </a:spcAft>
          </a:pPr>
          <a:r>
            <a:rPr lang="ru-RU" sz="1600" b="0" kern="1200" dirty="0" err="1" smtClean="0">
              <a:solidFill>
                <a:schemeClr val="tx1"/>
              </a:solidFill>
              <a:latin typeface="Arial Narrow" pitchFamily="34" charset="0"/>
            </a:rPr>
            <a:t>Жергілікті</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бюджеттен</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қаражаты</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есебінен</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қайтарымдылық</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негізінде</a:t>
          </a:r>
          <a:r>
            <a:rPr lang="ru-RU" sz="1600" b="0" kern="1200" dirty="0" smtClean="0">
              <a:solidFill>
                <a:schemeClr val="tx1"/>
              </a:solidFill>
              <a:latin typeface="Arial Narrow" pitchFamily="34" charset="0"/>
            </a:rPr>
            <a:t> </a:t>
          </a:r>
          <a:r>
            <a:rPr lang="ru-RU" sz="1600" b="1" kern="1200" dirty="0" smtClean="0">
              <a:solidFill>
                <a:schemeClr val="tx1"/>
              </a:solidFill>
              <a:latin typeface="Arial Narrow" pitchFamily="34" charset="0"/>
            </a:rPr>
            <a:t>ЛИФТІЛЕРДІ ЖӨНДЕЙДІ ЖӘНЕ АУЫСТЫРАДЫ</a:t>
          </a:r>
          <a:endParaRPr lang="ru-RU" sz="1600" b="0" kern="1200" dirty="0" smtClean="0">
            <a:solidFill>
              <a:schemeClr val="tx1"/>
            </a:solidFill>
            <a:latin typeface="Arial Narrow" pitchFamily="34" charset="0"/>
          </a:endParaRPr>
        </a:p>
      </dsp:txBody>
      <dsp:txXfrm>
        <a:off x="1349963" y="2345836"/>
        <a:ext cx="6729090" cy="708166"/>
      </dsp:txXfrm>
    </dsp:sp>
    <dsp:sp modelId="{36DCBD3C-E704-49F0-94BE-4EAD78C326FB}">
      <dsp:nvSpPr>
        <dsp:cNvPr id="0" name=""/>
        <dsp:cNvSpPr/>
      </dsp:nvSpPr>
      <dsp:spPr>
        <a:xfrm>
          <a:off x="858035" y="2289592"/>
          <a:ext cx="905264" cy="853632"/>
        </a:xfrm>
        <a:prstGeom prst="ellipse">
          <a:avLst/>
        </a:prstGeom>
        <a:solidFill>
          <a:schemeClr val="bg1"/>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dsp:style>
    </dsp:sp>
    <dsp:sp modelId="{CDC22D74-E8E2-4F38-B8B3-FF1999BB9A90}">
      <dsp:nvSpPr>
        <dsp:cNvPr id="0" name=""/>
        <dsp:cNvSpPr/>
      </dsp:nvSpPr>
      <dsp:spPr>
        <a:xfrm>
          <a:off x="1434691" y="3265924"/>
          <a:ext cx="6634559" cy="765189"/>
        </a:xfrm>
        <a:prstGeom prst="rect">
          <a:avLst/>
        </a:prstGeom>
        <a:solidFill>
          <a:schemeClr val="accent1">
            <a:lumMod val="40000"/>
            <a:lumOff val="60000"/>
          </a:schemeClr>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a:schemeClr val="lt1"/>
        </a:fontRef>
      </dsp:style>
      <dsp:txBody>
        <a:bodyPr spcFirstLastPara="0" vert="horz" wrap="square" lIns="509418" tIns="40640" rIns="40640" bIns="40640" numCol="1" spcCol="1270" anchor="ctr" anchorCtr="0">
          <a:noAutofit/>
        </a:bodyPr>
        <a:lstStyle/>
        <a:p>
          <a:pPr lvl="0" algn="l" defTabSz="711200">
            <a:lnSpc>
              <a:spcPct val="90000"/>
            </a:lnSpc>
            <a:spcBef>
              <a:spcPct val="0"/>
            </a:spcBef>
            <a:spcAft>
              <a:spcPct val="35000"/>
            </a:spcAft>
          </a:pPr>
          <a:r>
            <a:rPr lang="ru-RU" sz="1600" b="0" kern="1200" dirty="0" smtClean="0">
              <a:solidFill>
                <a:schemeClr val="tx1"/>
              </a:solidFill>
              <a:latin typeface="Arial Narrow" pitchFamily="34" charset="0"/>
            </a:rPr>
            <a:t>кондоминиум </a:t>
          </a:r>
          <a:r>
            <a:rPr lang="ru-RU" sz="1600" b="0" kern="1200" dirty="0" err="1" smtClean="0">
              <a:solidFill>
                <a:schemeClr val="tx1"/>
              </a:solidFill>
              <a:latin typeface="Arial Narrow" pitchFamily="34" charset="0"/>
            </a:rPr>
            <a:t>объектісінің</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ортақ</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мүліктің</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құрамына</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жер</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участкесін</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кіргізуді</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қамтамасыз</a:t>
          </a:r>
          <a:r>
            <a:rPr lang="ru-RU" sz="1600" b="0" kern="1200" dirty="0" smtClean="0">
              <a:solidFill>
                <a:schemeClr val="tx1"/>
              </a:solidFill>
              <a:latin typeface="Arial Narrow" pitchFamily="34" charset="0"/>
            </a:rPr>
            <a:t> </a:t>
          </a:r>
          <a:r>
            <a:rPr lang="ru-RU" sz="1600" b="0" kern="1200" dirty="0" err="1" smtClean="0">
              <a:solidFill>
                <a:schemeClr val="tx1"/>
              </a:solidFill>
              <a:latin typeface="Arial Narrow" pitchFamily="34" charset="0"/>
            </a:rPr>
            <a:t>етеді</a:t>
          </a:r>
          <a:endParaRPr lang="ru-RU" sz="1600" b="0" kern="1200" dirty="0">
            <a:solidFill>
              <a:schemeClr val="tx1"/>
            </a:solidFill>
            <a:latin typeface="Arial Narrow" pitchFamily="34" charset="0"/>
            <a:cs typeface="Arial" panose="020B0604020202020204" pitchFamily="34" charset="0"/>
          </a:endParaRPr>
        </a:p>
      </dsp:txBody>
      <dsp:txXfrm>
        <a:off x="1434691" y="3265924"/>
        <a:ext cx="6634559" cy="765189"/>
      </dsp:txXfrm>
    </dsp:sp>
    <dsp:sp modelId="{F3DBB779-D7F8-4B2F-96A9-089122992CB0}">
      <dsp:nvSpPr>
        <dsp:cNvPr id="0" name=""/>
        <dsp:cNvSpPr/>
      </dsp:nvSpPr>
      <dsp:spPr>
        <a:xfrm>
          <a:off x="802765" y="3243250"/>
          <a:ext cx="952315" cy="860074"/>
        </a:xfrm>
        <a:prstGeom prst="ellipse">
          <a:avLst/>
        </a:prstGeom>
        <a:solidFill>
          <a:schemeClr val="bg1"/>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dsp:style>
    </dsp:sp>
    <dsp:sp modelId="{A3D4675D-6438-4A2D-AD82-ACB7A9ACAD5B}">
      <dsp:nvSpPr>
        <dsp:cNvPr id="0" name=""/>
        <dsp:cNvSpPr/>
      </dsp:nvSpPr>
      <dsp:spPr>
        <a:xfrm>
          <a:off x="1386344" y="4243503"/>
          <a:ext cx="6704433" cy="897930"/>
        </a:xfrm>
        <a:prstGeom prst="rect">
          <a:avLst/>
        </a:prstGeom>
        <a:solidFill>
          <a:schemeClr val="accent1">
            <a:lumMod val="40000"/>
            <a:lumOff val="60000"/>
          </a:schemeClr>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a:schemeClr val="lt1"/>
        </a:fontRef>
      </dsp:style>
      <dsp:txBody>
        <a:bodyPr spcFirstLastPara="0" vert="horz" wrap="square" lIns="509418" tIns="40640" rIns="40640" bIns="40640" numCol="1" spcCol="1270" anchor="ctr" anchorCtr="0">
          <a:noAutofit/>
        </a:bodyPr>
        <a:lstStyle/>
        <a:p>
          <a:pPr lvl="0" algn="l" defTabSz="711200">
            <a:lnSpc>
              <a:spcPct val="90000"/>
            </a:lnSpc>
            <a:spcBef>
              <a:spcPct val="0"/>
            </a:spcBef>
            <a:spcAft>
              <a:spcPct val="35000"/>
            </a:spcAft>
          </a:pPr>
          <a:r>
            <a:rPr lang="kk-KZ" sz="1600" b="0" kern="1200" dirty="0" smtClean="0">
              <a:solidFill>
                <a:schemeClr val="tx1"/>
              </a:solidFill>
              <a:latin typeface="Arial Narrow" pitchFamily="34" charset="0"/>
            </a:rPr>
            <a:t>газбен жабдықтау, газбен қамтамасыз ету және әлеуметтік инфрақұрылым объектілерінде қауіпті техникалық құрылғылардың қауіпсіз жұмысын қадағалау</a:t>
          </a:r>
          <a:endParaRPr lang="ru-RU" sz="1600" b="0" kern="1200" dirty="0">
            <a:solidFill>
              <a:schemeClr val="tx1"/>
            </a:solidFill>
            <a:latin typeface="Arial Narrow" pitchFamily="34" charset="0"/>
          </a:endParaRPr>
        </a:p>
      </dsp:txBody>
      <dsp:txXfrm>
        <a:off x="1386344" y="4243503"/>
        <a:ext cx="6704433" cy="897930"/>
      </dsp:txXfrm>
    </dsp:sp>
    <dsp:sp modelId="{47BBF189-D5FC-4870-8213-0C3925E3106E}">
      <dsp:nvSpPr>
        <dsp:cNvPr id="0" name=""/>
        <dsp:cNvSpPr/>
      </dsp:nvSpPr>
      <dsp:spPr>
        <a:xfrm>
          <a:off x="635955" y="4196899"/>
          <a:ext cx="921814" cy="852814"/>
        </a:xfrm>
        <a:prstGeom prst="ellipse">
          <a:avLst/>
        </a:prstGeom>
        <a:solidFill>
          <a:schemeClr val="bg1"/>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dsp:style>
    </dsp:sp>
    <dsp:sp modelId="{585CFB9F-3C0D-4C13-9BCF-764C5DF98FE7}">
      <dsp:nvSpPr>
        <dsp:cNvPr id="0" name=""/>
        <dsp:cNvSpPr/>
      </dsp:nvSpPr>
      <dsp:spPr>
        <a:xfrm>
          <a:off x="1067832" y="5216035"/>
          <a:ext cx="6993351" cy="740204"/>
        </a:xfrm>
        <a:prstGeom prst="rect">
          <a:avLst/>
        </a:prstGeom>
        <a:solidFill>
          <a:schemeClr val="accent1">
            <a:lumMod val="40000"/>
            <a:lumOff val="60000"/>
          </a:schemeClr>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a:schemeClr val="lt1"/>
        </a:fontRef>
      </dsp:style>
      <dsp:txBody>
        <a:bodyPr spcFirstLastPara="0" vert="horz" wrap="square" lIns="509418" tIns="40640" rIns="40640" bIns="40640" numCol="1" spcCol="1270" anchor="ctr" anchorCtr="0">
          <a:noAutofit/>
        </a:bodyPr>
        <a:lstStyle/>
        <a:p>
          <a:pPr lvl="0" algn="l" defTabSz="711200">
            <a:lnSpc>
              <a:spcPct val="90000"/>
            </a:lnSpc>
            <a:spcBef>
              <a:spcPct val="0"/>
            </a:spcBef>
            <a:spcAft>
              <a:spcPct val="35000"/>
            </a:spcAft>
          </a:pPr>
          <a:r>
            <a:rPr lang="ru-RU" sz="1600" b="0" kern="1200" dirty="0" err="1" smtClean="0">
              <a:latin typeface="Arial Narrow" pitchFamily="34" charset="0"/>
            </a:rPr>
            <a:t>авариялы</a:t>
          </a:r>
          <a:r>
            <a:rPr lang="ru-RU" sz="1600" b="0" kern="1200" dirty="0" smtClean="0">
              <a:latin typeface="Arial Narrow" pitchFamily="34" charset="0"/>
            </a:rPr>
            <a:t> </a:t>
          </a:r>
          <a:r>
            <a:rPr lang="ru-RU" sz="1600" b="0" kern="1200" dirty="0" err="1" smtClean="0">
              <a:latin typeface="Arial Narrow" pitchFamily="34" charset="0"/>
            </a:rPr>
            <a:t>жағдайдағы</a:t>
          </a:r>
          <a:r>
            <a:rPr lang="ru-RU" sz="1600" b="0" kern="1200" dirty="0" smtClean="0">
              <a:latin typeface="Arial Narrow" pitchFamily="34" charset="0"/>
            </a:rPr>
            <a:t> </a:t>
          </a:r>
          <a:r>
            <a:rPr lang="ru-RU" sz="1600" b="0" kern="1200" dirty="0" err="1" smtClean="0">
              <a:latin typeface="Arial Narrow" pitchFamily="34" charset="0"/>
            </a:rPr>
            <a:t>көп</a:t>
          </a:r>
          <a:r>
            <a:rPr lang="ru-RU" sz="1600" b="0" kern="1200" dirty="0" smtClean="0">
              <a:latin typeface="Arial Narrow" pitchFamily="34" charset="0"/>
            </a:rPr>
            <a:t> </a:t>
          </a:r>
          <a:r>
            <a:rPr lang="ru-RU" sz="1600" b="0" kern="1200" dirty="0" err="1" smtClean="0">
              <a:latin typeface="Arial Narrow" pitchFamily="34" charset="0"/>
            </a:rPr>
            <a:t>пәтерлі</a:t>
          </a:r>
          <a:r>
            <a:rPr lang="ru-RU" sz="1600" b="0" kern="1200" dirty="0" smtClean="0">
              <a:latin typeface="Arial Narrow" pitchFamily="34" charset="0"/>
            </a:rPr>
            <a:t> </a:t>
          </a:r>
          <a:r>
            <a:rPr lang="ru-RU" sz="1600" b="0" kern="1200" dirty="0" err="1" smtClean="0">
              <a:latin typeface="Arial Narrow" pitchFamily="34" charset="0"/>
            </a:rPr>
            <a:t>тұрғын</a:t>
          </a:r>
          <a:r>
            <a:rPr lang="ru-RU" sz="1600" b="0" kern="1200" dirty="0" smtClean="0">
              <a:latin typeface="Arial Narrow" pitchFamily="34" charset="0"/>
            </a:rPr>
            <a:t> </a:t>
          </a:r>
          <a:r>
            <a:rPr lang="ru-RU" sz="1600" b="0" kern="1200" dirty="0" err="1" smtClean="0">
              <a:latin typeface="Arial Narrow" pitchFamily="34" charset="0"/>
            </a:rPr>
            <a:t>үйлерді</a:t>
          </a:r>
          <a:r>
            <a:rPr lang="ru-RU" sz="1600" b="0" kern="1200" dirty="0" smtClean="0">
              <a:latin typeface="Arial Narrow" pitchFamily="34" charset="0"/>
            </a:rPr>
            <a:t> </a:t>
          </a:r>
          <a:r>
            <a:rPr lang="ru-RU" sz="1600" b="1" kern="1200" dirty="0" smtClean="0">
              <a:latin typeface="Arial Narrow" pitchFamily="34" charset="0"/>
            </a:rPr>
            <a:t>БҰЗУДЫ </a:t>
          </a:r>
          <a:r>
            <a:rPr lang="ru-RU" sz="1600" b="0" kern="1200" dirty="0" err="1" smtClean="0">
              <a:latin typeface="Arial Narrow" pitchFamily="34" charset="0"/>
            </a:rPr>
            <a:t>ұйымдастырады</a:t>
          </a:r>
          <a:endParaRPr lang="ru-RU" sz="1600" b="0" kern="1200" dirty="0">
            <a:latin typeface="Arial Narrow" pitchFamily="34" charset="0"/>
          </a:endParaRPr>
        </a:p>
      </dsp:txBody>
      <dsp:txXfrm>
        <a:off x="1067832" y="5216035"/>
        <a:ext cx="6993351" cy="740204"/>
      </dsp:txXfrm>
    </dsp:sp>
    <dsp:sp modelId="{05310DB9-52EA-4F4E-863B-2764AC4AF769}">
      <dsp:nvSpPr>
        <dsp:cNvPr id="0" name=""/>
        <dsp:cNvSpPr/>
      </dsp:nvSpPr>
      <dsp:spPr>
        <a:xfrm>
          <a:off x="583321" y="5142980"/>
          <a:ext cx="900466" cy="813264"/>
        </a:xfrm>
        <a:prstGeom prst="ellipse">
          <a:avLst/>
        </a:prstGeom>
        <a:solidFill>
          <a:schemeClr val="bg1"/>
        </a:solidFill>
        <a:ln w="3175" cap="flat" cmpd="sng" algn="ctr">
          <a:solidFill>
            <a:srgbClr val="002060"/>
          </a:solidFill>
          <a:prstDash val="solid"/>
          <a:miter lim="800000"/>
        </a:ln>
        <a:effectLst>
          <a:innerShdw blurRad="63500" dist="50800" dir="8100000">
            <a:prstClr val="black">
              <a:alpha val="50000"/>
            </a:prstClr>
          </a:innerShdw>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33278" cy="497020"/>
          </a:xfrm>
          <a:prstGeom prst="rect">
            <a:avLst/>
          </a:prstGeom>
        </p:spPr>
        <p:txBody>
          <a:bodyPr vert="horz" lIns="90951" tIns="45476" rIns="90951" bIns="45476" rtlCol="0"/>
          <a:lstStyle>
            <a:lvl1pPr algn="l">
              <a:defRPr sz="1200"/>
            </a:lvl1pPr>
          </a:lstStyle>
          <a:p>
            <a:endParaRPr lang="en-US"/>
          </a:p>
        </p:txBody>
      </p:sp>
      <p:sp>
        <p:nvSpPr>
          <p:cNvPr id="3" name="Date Placeholder 2"/>
          <p:cNvSpPr>
            <a:spLocks noGrp="1"/>
          </p:cNvSpPr>
          <p:nvPr>
            <p:ph type="dt" sz="quarter" idx="1"/>
          </p:nvPr>
        </p:nvSpPr>
        <p:spPr>
          <a:xfrm>
            <a:off x="3834259" y="1"/>
            <a:ext cx="2933278" cy="497020"/>
          </a:xfrm>
          <a:prstGeom prst="rect">
            <a:avLst/>
          </a:prstGeom>
        </p:spPr>
        <p:txBody>
          <a:bodyPr vert="horz" lIns="90951" tIns="45476" rIns="90951" bIns="45476" rtlCol="0"/>
          <a:lstStyle>
            <a:lvl1pPr algn="r">
              <a:defRPr sz="1200"/>
            </a:lvl1pPr>
          </a:lstStyle>
          <a:p>
            <a:fld id="{247CADDA-4986-44A8-92F4-34A9E51580BF}" type="datetimeFigureOut">
              <a:rPr lang="en-US" smtClean="0"/>
              <a:t>10/10/2018</a:t>
            </a:fld>
            <a:endParaRPr lang="en-US"/>
          </a:p>
        </p:txBody>
      </p:sp>
      <p:sp>
        <p:nvSpPr>
          <p:cNvPr id="4" name="Footer Placeholder 3"/>
          <p:cNvSpPr>
            <a:spLocks noGrp="1"/>
          </p:cNvSpPr>
          <p:nvPr>
            <p:ph type="ftr" sz="quarter" idx="2"/>
          </p:nvPr>
        </p:nvSpPr>
        <p:spPr>
          <a:xfrm>
            <a:off x="1" y="9408984"/>
            <a:ext cx="2933278" cy="497019"/>
          </a:xfrm>
          <a:prstGeom prst="rect">
            <a:avLst/>
          </a:prstGeom>
        </p:spPr>
        <p:txBody>
          <a:bodyPr vert="horz" lIns="90951" tIns="45476" rIns="90951" bIns="45476" rtlCol="0" anchor="b"/>
          <a:lstStyle>
            <a:lvl1pPr algn="l">
              <a:defRPr sz="1200"/>
            </a:lvl1pPr>
          </a:lstStyle>
          <a:p>
            <a:endParaRPr lang="en-US"/>
          </a:p>
        </p:txBody>
      </p:sp>
      <p:sp>
        <p:nvSpPr>
          <p:cNvPr id="5" name="Slide Number Placeholder 4"/>
          <p:cNvSpPr>
            <a:spLocks noGrp="1"/>
          </p:cNvSpPr>
          <p:nvPr>
            <p:ph type="sldNum" sz="quarter" idx="3"/>
          </p:nvPr>
        </p:nvSpPr>
        <p:spPr>
          <a:xfrm>
            <a:off x="3834259" y="9408984"/>
            <a:ext cx="2933278" cy="497019"/>
          </a:xfrm>
          <a:prstGeom prst="rect">
            <a:avLst/>
          </a:prstGeom>
        </p:spPr>
        <p:txBody>
          <a:bodyPr vert="horz" lIns="90951" tIns="45476" rIns="90951" bIns="45476" rtlCol="0" anchor="b"/>
          <a:lstStyle>
            <a:lvl1pPr algn="r">
              <a:defRPr sz="1200"/>
            </a:lvl1pPr>
          </a:lstStyle>
          <a:p>
            <a:fld id="{8D35EBF4-4462-4124-A996-68D8BF938B53}" type="slidenum">
              <a:rPr lang="en-US" smtClean="0"/>
              <a:t>‹#›</a:t>
            </a:fld>
            <a:endParaRPr lang="en-US"/>
          </a:p>
        </p:txBody>
      </p:sp>
    </p:spTree>
    <p:extLst>
      <p:ext uri="{BB962C8B-B14F-4D97-AF65-F5344CB8AC3E}">
        <p14:creationId xmlns:p14="http://schemas.microsoft.com/office/powerpoint/2010/main" val="5486747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33278" cy="497020"/>
          </a:xfrm>
          <a:prstGeom prst="rect">
            <a:avLst/>
          </a:prstGeom>
        </p:spPr>
        <p:txBody>
          <a:bodyPr vert="horz" lIns="90951" tIns="45476" rIns="90951" bIns="45476" rtlCol="0"/>
          <a:lstStyle>
            <a:lvl1pPr algn="l">
              <a:defRPr sz="1200"/>
            </a:lvl1pPr>
          </a:lstStyle>
          <a:p>
            <a:endParaRPr lang="en-US"/>
          </a:p>
        </p:txBody>
      </p:sp>
      <p:sp>
        <p:nvSpPr>
          <p:cNvPr id="3" name="Date Placeholder 2"/>
          <p:cNvSpPr>
            <a:spLocks noGrp="1"/>
          </p:cNvSpPr>
          <p:nvPr>
            <p:ph type="dt" idx="1"/>
          </p:nvPr>
        </p:nvSpPr>
        <p:spPr>
          <a:xfrm>
            <a:off x="3834259" y="1"/>
            <a:ext cx="2933278" cy="497020"/>
          </a:xfrm>
          <a:prstGeom prst="rect">
            <a:avLst/>
          </a:prstGeom>
        </p:spPr>
        <p:txBody>
          <a:bodyPr vert="horz" lIns="90951" tIns="45476" rIns="90951" bIns="45476" rtlCol="0"/>
          <a:lstStyle>
            <a:lvl1pPr algn="r">
              <a:defRPr sz="1200"/>
            </a:lvl1pPr>
          </a:lstStyle>
          <a:p>
            <a:fld id="{3C0F72D8-025A-4030-816A-762A67DCB867}" type="datetimeFigureOut">
              <a:rPr lang="en-US" smtClean="0"/>
              <a:t>10/10/2018</a:t>
            </a:fld>
            <a:endParaRPr lang="en-US"/>
          </a:p>
        </p:txBody>
      </p:sp>
      <p:sp>
        <p:nvSpPr>
          <p:cNvPr id="4" name="Slide Image Placeholder 3"/>
          <p:cNvSpPr>
            <a:spLocks noGrp="1" noRot="1" noChangeAspect="1"/>
          </p:cNvSpPr>
          <p:nvPr>
            <p:ph type="sldImg" idx="2"/>
          </p:nvPr>
        </p:nvSpPr>
        <p:spPr>
          <a:xfrm>
            <a:off x="1155700" y="1238250"/>
            <a:ext cx="4457700" cy="3343275"/>
          </a:xfrm>
          <a:prstGeom prst="rect">
            <a:avLst/>
          </a:prstGeom>
          <a:noFill/>
          <a:ln w="12700">
            <a:solidFill>
              <a:prstClr val="black"/>
            </a:solidFill>
          </a:ln>
        </p:spPr>
        <p:txBody>
          <a:bodyPr vert="horz" lIns="90951" tIns="45476" rIns="90951" bIns="45476" rtlCol="0" anchor="ctr"/>
          <a:lstStyle/>
          <a:p>
            <a:endParaRPr lang="en-US"/>
          </a:p>
        </p:txBody>
      </p:sp>
      <p:sp>
        <p:nvSpPr>
          <p:cNvPr id="5" name="Notes Placeholder 4"/>
          <p:cNvSpPr>
            <a:spLocks noGrp="1"/>
          </p:cNvSpPr>
          <p:nvPr>
            <p:ph type="body" sz="quarter" idx="3"/>
          </p:nvPr>
        </p:nvSpPr>
        <p:spPr>
          <a:xfrm>
            <a:off x="676911" y="4767266"/>
            <a:ext cx="5415280" cy="3900487"/>
          </a:xfrm>
          <a:prstGeom prst="rect">
            <a:avLst/>
          </a:prstGeom>
        </p:spPr>
        <p:txBody>
          <a:bodyPr vert="horz" lIns="90951" tIns="45476" rIns="90951" bIns="45476"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08984"/>
            <a:ext cx="2933278" cy="497019"/>
          </a:xfrm>
          <a:prstGeom prst="rect">
            <a:avLst/>
          </a:prstGeom>
        </p:spPr>
        <p:txBody>
          <a:bodyPr vert="horz" lIns="90951" tIns="45476" rIns="90951" bIns="45476" rtlCol="0" anchor="b"/>
          <a:lstStyle>
            <a:lvl1pPr algn="l">
              <a:defRPr sz="1200"/>
            </a:lvl1pPr>
          </a:lstStyle>
          <a:p>
            <a:endParaRPr lang="en-US"/>
          </a:p>
        </p:txBody>
      </p:sp>
      <p:sp>
        <p:nvSpPr>
          <p:cNvPr id="7" name="Slide Number Placeholder 6"/>
          <p:cNvSpPr>
            <a:spLocks noGrp="1"/>
          </p:cNvSpPr>
          <p:nvPr>
            <p:ph type="sldNum" sz="quarter" idx="5"/>
          </p:nvPr>
        </p:nvSpPr>
        <p:spPr>
          <a:xfrm>
            <a:off x="3834259" y="9408984"/>
            <a:ext cx="2933278" cy="497019"/>
          </a:xfrm>
          <a:prstGeom prst="rect">
            <a:avLst/>
          </a:prstGeom>
        </p:spPr>
        <p:txBody>
          <a:bodyPr vert="horz" lIns="90951" tIns="45476" rIns="90951" bIns="45476" rtlCol="0" anchor="b"/>
          <a:lstStyle>
            <a:lvl1pPr algn="r">
              <a:defRPr sz="1200"/>
            </a:lvl1pPr>
          </a:lstStyle>
          <a:p>
            <a:fld id="{B83F3D10-0845-46EB-87A1-64283364D02C}" type="slidenum">
              <a:rPr lang="en-US" smtClean="0"/>
              <a:t>‹#›</a:t>
            </a:fld>
            <a:endParaRPr lang="en-US"/>
          </a:p>
        </p:txBody>
      </p:sp>
    </p:spTree>
    <p:extLst>
      <p:ext uri="{BB962C8B-B14F-4D97-AF65-F5344CB8AC3E}">
        <p14:creationId xmlns:p14="http://schemas.microsoft.com/office/powerpoint/2010/main" val="300721063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1238250"/>
            <a:ext cx="4457700" cy="3343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3F3D10-0845-46EB-87A1-64283364D02C}" type="slidenum">
              <a:rPr lang="en-US" smtClean="0"/>
              <a:t>1</a:t>
            </a:fld>
            <a:endParaRPr lang="en-US" dirty="0"/>
          </a:p>
        </p:txBody>
      </p:sp>
    </p:spTree>
    <p:extLst>
      <p:ext uri="{BB962C8B-B14F-4D97-AF65-F5344CB8AC3E}">
        <p14:creationId xmlns:p14="http://schemas.microsoft.com/office/powerpoint/2010/main" val="2732238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1238250"/>
            <a:ext cx="4457700" cy="3343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3F3D10-0845-46EB-87A1-64283364D02C}" type="slidenum">
              <a:rPr lang="en-US" smtClean="0"/>
              <a:t>2</a:t>
            </a:fld>
            <a:endParaRPr lang="en-US"/>
          </a:p>
        </p:txBody>
      </p:sp>
    </p:spTree>
    <p:extLst>
      <p:ext uri="{BB962C8B-B14F-4D97-AF65-F5344CB8AC3E}">
        <p14:creationId xmlns:p14="http://schemas.microsoft.com/office/powerpoint/2010/main" val="2656398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smtClean="0"/>
          </a:p>
        </p:txBody>
      </p:sp>
      <p:sp>
        <p:nvSpPr>
          <p:cNvPr id="17412"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39145" indent="-284287">
              <a:defRPr>
                <a:solidFill>
                  <a:schemeClr val="tx1"/>
                </a:solidFill>
                <a:latin typeface="Arial" panose="020B0604020202020204" pitchFamily="34" charset="0"/>
                <a:cs typeface="Arial" panose="020B0604020202020204" pitchFamily="34" charset="0"/>
              </a:defRPr>
            </a:lvl2pPr>
            <a:lvl3pPr marL="1137147" indent="-227429">
              <a:defRPr>
                <a:solidFill>
                  <a:schemeClr val="tx1"/>
                </a:solidFill>
                <a:latin typeface="Arial" panose="020B0604020202020204" pitchFamily="34" charset="0"/>
                <a:cs typeface="Arial" panose="020B0604020202020204" pitchFamily="34" charset="0"/>
              </a:defRPr>
            </a:lvl3pPr>
            <a:lvl4pPr marL="1592006" indent="-227429">
              <a:defRPr>
                <a:solidFill>
                  <a:schemeClr val="tx1"/>
                </a:solidFill>
                <a:latin typeface="Arial" panose="020B0604020202020204" pitchFamily="34" charset="0"/>
                <a:cs typeface="Arial" panose="020B0604020202020204" pitchFamily="34" charset="0"/>
              </a:defRPr>
            </a:lvl4pPr>
            <a:lvl5pPr marL="2046864" indent="-227429">
              <a:defRPr>
                <a:solidFill>
                  <a:schemeClr val="tx1"/>
                </a:solidFill>
                <a:latin typeface="Arial" panose="020B0604020202020204" pitchFamily="34" charset="0"/>
                <a:cs typeface="Arial" panose="020B0604020202020204" pitchFamily="34" charset="0"/>
              </a:defRPr>
            </a:lvl5pPr>
            <a:lvl6pPr marL="2501722" indent="-2274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56581" indent="-2274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11440" indent="-2274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66299" indent="-227429"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97E1493-3FF5-42BF-BFE4-9147583D16EC}" type="slidenum">
              <a:rPr lang="ru-RU" smtClean="0">
                <a:solidFill>
                  <a:prstClr val="black"/>
                </a:solidFill>
              </a:rPr>
              <a:pPr/>
              <a:t>3</a:t>
            </a:fld>
            <a:endParaRPr lang="ru-RU" smtClean="0">
              <a:solidFill>
                <a:prstClr val="black"/>
              </a:solidFill>
            </a:endParaRPr>
          </a:p>
        </p:txBody>
      </p:sp>
    </p:spTree>
    <p:extLst>
      <p:ext uri="{BB962C8B-B14F-4D97-AF65-F5344CB8AC3E}">
        <p14:creationId xmlns:p14="http://schemas.microsoft.com/office/powerpoint/2010/main" val="409542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1238250"/>
            <a:ext cx="4457700" cy="3343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3F3D10-0845-46EB-87A1-64283364D02C}" type="slidenum">
              <a:rPr lang="en-US" smtClean="0"/>
              <a:t>4</a:t>
            </a:fld>
            <a:endParaRPr lang="en-US"/>
          </a:p>
        </p:txBody>
      </p:sp>
    </p:spTree>
    <p:extLst>
      <p:ext uri="{BB962C8B-B14F-4D97-AF65-F5344CB8AC3E}">
        <p14:creationId xmlns:p14="http://schemas.microsoft.com/office/powerpoint/2010/main" val="2656398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1238250"/>
            <a:ext cx="4457700" cy="3343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3F3D10-0845-46EB-87A1-64283364D02C}" type="slidenum">
              <a:rPr lang="en-US" smtClean="0"/>
              <a:t>5</a:t>
            </a:fld>
            <a:endParaRPr lang="en-US"/>
          </a:p>
        </p:txBody>
      </p:sp>
    </p:spTree>
    <p:extLst>
      <p:ext uri="{BB962C8B-B14F-4D97-AF65-F5344CB8AC3E}">
        <p14:creationId xmlns:p14="http://schemas.microsoft.com/office/powerpoint/2010/main" val="2656398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1238250"/>
            <a:ext cx="4457700" cy="3343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3F3D10-0845-46EB-87A1-64283364D02C}" type="slidenum">
              <a:rPr lang="en-US" smtClean="0"/>
              <a:t>6</a:t>
            </a:fld>
            <a:endParaRPr lang="en-US"/>
          </a:p>
        </p:txBody>
      </p:sp>
    </p:spTree>
    <p:extLst>
      <p:ext uri="{BB962C8B-B14F-4D97-AF65-F5344CB8AC3E}">
        <p14:creationId xmlns:p14="http://schemas.microsoft.com/office/powerpoint/2010/main" val="20254252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5700" y="1238250"/>
            <a:ext cx="4457700" cy="3343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83F3D10-0845-46EB-87A1-64283364D02C}" type="slidenum">
              <a:rPr lang="en-US" smtClean="0"/>
              <a:t>7</a:t>
            </a:fld>
            <a:endParaRPr lang="en-US"/>
          </a:p>
        </p:txBody>
      </p:sp>
    </p:spTree>
    <p:extLst>
      <p:ext uri="{BB962C8B-B14F-4D97-AF65-F5344CB8AC3E}">
        <p14:creationId xmlns:p14="http://schemas.microsoft.com/office/powerpoint/2010/main" val="20254252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7"/>
            <a:ext cx="6858000" cy="1655763"/>
          </a:xfrm>
        </p:spPr>
        <p:txBody>
          <a:bodyPr/>
          <a:lstStyle>
            <a:lvl1pPr marL="0" indent="0" algn="ctr">
              <a:buNone/>
              <a:defRPr sz="1800"/>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4D2EA32-945A-4127-AB28-C222842AF240}" type="datetime1">
              <a:rPr lang="en-US" smtClean="0"/>
              <a:t>10/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40192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8331564-6CD1-40AC-9977-1F6C3C573AD0}" type="datetime1">
              <a:rPr lang="en-US" smtClean="0"/>
              <a:t>10/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6770395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6"/>
            <a:ext cx="1971675" cy="581183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1" y="365126"/>
            <a:ext cx="5800725" cy="5811839"/>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C0FE538-6C7E-41A5-AAD1-BE612ECCA65B}" type="datetime1">
              <a:rPr lang="en-US" smtClean="0"/>
              <a:t>10/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11305353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B76D74C-BE18-432F-AE1F-C4BF9572AE68}" type="datetime1">
              <a:rPr lang="en-US" smtClean="0">
                <a:solidFill>
                  <a:prstClr val="black">
                    <a:tint val="75000"/>
                  </a:prstClr>
                </a:solidFill>
              </a:r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solidFill>
                  <a:schemeClr val="tx1">
                    <a:lumMod val="10000"/>
                  </a:schemeClr>
                </a:solidFill>
              </a:defRPr>
            </a:lvl1pPr>
          </a:lstStyle>
          <a:p>
            <a:endParaRPr lang="en-US" dirty="0">
              <a:solidFill>
                <a:prstClr val="black">
                  <a:lumMod val="10000"/>
                </a:prstClr>
              </a:solidFill>
            </a:endParaRPr>
          </a:p>
        </p:txBody>
      </p:sp>
      <p:sp>
        <p:nvSpPr>
          <p:cNvPr id="6" name="Slide Number Placeholder 5"/>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
        <p:nvSpPr>
          <p:cNvPr id="2" name="Title 1"/>
          <p:cNvSpPr>
            <a:spLocks noGrp="1"/>
          </p:cNvSpPr>
          <p:nvPr>
            <p:ph type="ctrTitle"/>
          </p:nvPr>
        </p:nvSpPr>
        <p:spPr>
          <a:xfrm>
            <a:off x="685800" y="5181601"/>
            <a:ext cx="7772400" cy="933451"/>
          </a:xfrm>
        </p:spPr>
        <p:txBody>
          <a:bodyPr anchor="b">
            <a:normAutofit/>
          </a:bodyPr>
          <a:lstStyle>
            <a:lvl1pPr algn="ctr">
              <a:defRPr sz="2400">
                <a:solidFill>
                  <a:schemeClr val="accent2">
                    <a:lumMod val="75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6096000"/>
            <a:ext cx="6400800" cy="685800"/>
          </a:xfrm>
        </p:spPr>
        <p:txBody>
          <a:bodyPr>
            <a:normAutofit/>
          </a:bodyPr>
          <a:lstStyle>
            <a:lvl1pPr marL="0" indent="0" algn="ctr">
              <a:buNone/>
              <a:defRPr sz="1800">
                <a:solidFill>
                  <a:schemeClr val="accent2">
                    <a:lumMod val="60000"/>
                    <a:lumOff val="40000"/>
                  </a:schemeClr>
                </a:solidFill>
              </a:defRPr>
            </a:lvl1pPr>
            <a:lvl2pPr marL="457166" indent="0" algn="ctr">
              <a:buNone/>
              <a:defRPr>
                <a:solidFill>
                  <a:schemeClr val="tx1">
                    <a:tint val="75000"/>
                  </a:schemeClr>
                </a:solidFill>
              </a:defRPr>
            </a:lvl2pPr>
            <a:lvl3pPr marL="914333" indent="0" algn="ctr">
              <a:buNone/>
              <a:defRPr>
                <a:solidFill>
                  <a:schemeClr val="tx1">
                    <a:tint val="75000"/>
                  </a:schemeClr>
                </a:solidFill>
              </a:defRPr>
            </a:lvl3pPr>
            <a:lvl4pPr marL="1371498" indent="0" algn="ctr">
              <a:buNone/>
              <a:defRPr>
                <a:solidFill>
                  <a:schemeClr val="tx1">
                    <a:tint val="75000"/>
                  </a:schemeClr>
                </a:solidFill>
              </a:defRPr>
            </a:lvl4pPr>
            <a:lvl5pPr marL="1828664" indent="0" algn="ctr">
              <a:buNone/>
              <a:defRPr>
                <a:solidFill>
                  <a:schemeClr val="tx1">
                    <a:tint val="75000"/>
                  </a:schemeClr>
                </a:solidFill>
              </a:defRPr>
            </a:lvl5pPr>
            <a:lvl6pPr marL="2285829" indent="0" algn="ctr">
              <a:buNone/>
              <a:defRPr>
                <a:solidFill>
                  <a:schemeClr val="tx1">
                    <a:tint val="75000"/>
                  </a:schemeClr>
                </a:solidFill>
              </a:defRPr>
            </a:lvl6pPr>
            <a:lvl7pPr marL="2742995" indent="0" algn="ctr">
              <a:buNone/>
              <a:defRPr>
                <a:solidFill>
                  <a:schemeClr val="tx1">
                    <a:tint val="75000"/>
                  </a:schemeClr>
                </a:solidFill>
              </a:defRPr>
            </a:lvl7pPr>
            <a:lvl8pPr marL="3200160" indent="0" algn="ctr">
              <a:buNone/>
              <a:defRPr>
                <a:solidFill>
                  <a:schemeClr val="tx1">
                    <a:tint val="75000"/>
                  </a:schemeClr>
                </a:solidFill>
              </a:defRPr>
            </a:lvl8pPr>
            <a:lvl9pPr marL="3657326"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1898923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19B7C81-6DC7-45FA-850D-FA01B3DC9DE0}" type="datetime1">
              <a:rPr lang="en-US" smtClean="0">
                <a:solidFill>
                  <a:prstClr val="black">
                    <a:tint val="75000"/>
                  </a:prstClr>
                </a:solidFill>
              </a:r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
        <p:nvSpPr>
          <p:cNvPr id="10" name="Title 9"/>
          <p:cNvSpPr>
            <a:spLocks noGrp="1"/>
          </p:cNvSpPr>
          <p:nvPr>
            <p:ph type="title"/>
          </p:nvPr>
        </p:nvSpPr>
        <p:spPr>
          <a:xfrm>
            <a:off x="26128" y="160342"/>
            <a:ext cx="6019802" cy="525463"/>
          </a:xfrm>
        </p:spPr>
        <p:txBody>
          <a:bodyPr/>
          <a:lstStyle>
            <a:lvl1pPr algn="l">
              <a:defRPr>
                <a:solidFill>
                  <a:schemeClr val="bg1">
                    <a:lumMod val="65000"/>
                  </a:schemeClr>
                </a:solidFill>
              </a:defRPr>
            </a:lvl1pPr>
          </a:lstStyle>
          <a:p>
            <a:r>
              <a:rPr lang="en-US" dirty="0" smtClean="0"/>
              <a:t>Click to edit Master title style</a:t>
            </a:r>
            <a:endParaRPr lang="en-US" dirty="0"/>
          </a:p>
        </p:txBody>
      </p:sp>
      <p:sp>
        <p:nvSpPr>
          <p:cNvPr id="13" name="Content Placeholder 12"/>
          <p:cNvSpPr>
            <a:spLocks noGrp="1"/>
          </p:cNvSpPr>
          <p:nvPr>
            <p:ph sz="quarter" idx="13"/>
          </p:nvPr>
        </p:nvSpPr>
        <p:spPr>
          <a:xfrm>
            <a:off x="1524001" y="1092200"/>
            <a:ext cx="5181602" cy="5181600"/>
          </a:xfrm>
        </p:spPr>
        <p:txBody>
          <a:bodyPr/>
          <a:lstStyle>
            <a:lvl1pPr>
              <a:defRPr>
                <a:solidFill>
                  <a:schemeClr val="bg1">
                    <a:lumMod val="95000"/>
                  </a:schemeClr>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6039975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Bulleted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971800" y="1295400"/>
            <a:ext cx="6019800" cy="4978400"/>
          </a:xfrm>
        </p:spPr>
        <p:txBody>
          <a:bodyPr>
            <a:normAutofit/>
          </a:bodyPr>
          <a:lstStyle>
            <a:lvl1pPr marL="171438" indent="-171438">
              <a:buFont typeface="Arial" pitchFamily="34" charset="0"/>
              <a:buChar char="•"/>
              <a:defRPr sz="2400">
                <a:solidFill>
                  <a:schemeClr val="accent2">
                    <a:lumMod val="60000"/>
                    <a:lumOff val="40000"/>
                  </a:schemeClr>
                </a:solidFill>
              </a:defRPr>
            </a:lvl1pPr>
            <a:lvl2pPr marL="628604" indent="-171438">
              <a:buFont typeface="Arial" pitchFamily="34" charset="0"/>
              <a:buChar char="•"/>
              <a:defRPr sz="2000">
                <a:solidFill>
                  <a:schemeClr val="accent2">
                    <a:lumMod val="60000"/>
                    <a:lumOff val="40000"/>
                  </a:schemeClr>
                </a:solidFill>
              </a:defRPr>
            </a:lvl2pPr>
            <a:lvl3pPr marL="1085769" indent="-171438">
              <a:buFont typeface="Arial" pitchFamily="34" charset="0"/>
              <a:buChar char="•"/>
              <a:defRPr sz="1800">
                <a:solidFill>
                  <a:schemeClr val="accent2">
                    <a:lumMod val="60000"/>
                    <a:lumOff val="40000"/>
                  </a:schemeClr>
                </a:solidFill>
              </a:defRPr>
            </a:lvl3pPr>
            <a:lvl4pPr marL="1542935" indent="-171438">
              <a:buFont typeface="Arial" pitchFamily="34" charset="0"/>
              <a:buChar char="•"/>
              <a:defRPr sz="1600">
                <a:solidFill>
                  <a:schemeClr val="accent2">
                    <a:lumMod val="60000"/>
                    <a:lumOff val="40000"/>
                  </a:schemeClr>
                </a:solidFill>
              </a:defRPr>
            </a:lvl4pPr>
            <a:lvl5pPr marL="2000100" indent="-171438">
              <a:buFont typeface="Arial" pitchFamily="34" charset="0"/>
              <a:buChar char="•"/>
              <a:defRPr sz="1600">
                <a:solidFill>
                  <a:schemeClr val="accent2">
                    <a:lumMod val="60000"/>
                    <a:lumOff val="4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FE1335C8-1763-4C6A-8377-17EA775A8F9B}" type="datetime1">
              <a:rPr lang="en-US" smtClean="0">
                <a:solidFill>
                  <a:prstClr val="black">
                    <a:tint val="75000"/>
                  </a:prstClr>
                </a:solidFill>
              </a:r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5643225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Light Backgroun">
    <p:spTree>
      <p:nvGrpSpPr>
        <p:cNvPr id="1" name=""/>
        <p:cNvGrpSpPr/>
        <p:nvPr/>
      </p:nvGrpSpPr>
      <p:grpSpPr>
        <a:xfrm>
          <a:off x="0" y="0"/>
          <a:ext cx="0" cy="0"/>
          <a:chOff x="0" y="0"/>
          <a:chExt cx="0" cy="0"/>
        </a:xfrm>
      </p:grpSpPr>
      <p:sp>
        <p:nvSpPr>
          <p:cNvPr id="13" name="Date Placeholder 3"/>
          <p:cNvSpPr>
            <a:spLocks noGrp="1"/>
          </p:cNvSpPr>
          <p:nvPr>
            <p:ph type="dt" sz="half" idx="2"/>
          </p:nvPr>
        </p:nvSpPr>
        <p:spPr>
          <a:xfrm>
            <a:off x="457200" y="6356352"/>
            <a:ext cx="2133600" cy="365125"/>
          </a:xfrm>
          <a:prstGeom prst="rect">
            <a:avLst/>
          </a:prstGeom>
        </p:spPr>
        <p:txBody>
          <a:bodyPr vert="horz" lIns="91434" tIns="45717" rIns="91434" bIns="45717" rtlCol="0" anchor="ctr"/>
          <a:lstStyle>
            <a:lvl1pPr algn="l">
              <a:defRPr sz="1200">
                <a:solidFill>
                  <a:schemeClr val="tx1">
                    <a:tint val="75000"/>
                  </a:schemeClr>
                </a:solidFill>
              </a:defRPr>
            </a:lvl1pPr>
          </a:lstStyle>
          <a:p>
            <a:fld id="{97B9BA22-01E5-4425-93BC-F341825FCEF3}" type="datetime1">
              <a:rPr lang="en-US" smtClean="0">
                <a:solidFill>
                  <a:prstClr val="black">
                    <a:tint val="75000"/>
                  </a:prstClr>
                </a:solidFill>
              </a:rPr>
              <a:t>10/10/2018</a:t>
            </a:fld>
            <a:endParaRPr lang="en-US">
              <a:solidFill>
                <a:prstClr val="black">
                  <a:tint val="75000"/>
                </a:prstClr>
              </a:solidFill>
            </a:endParaRPr>
          </a:p>
        </p:txBody>
      </p:sp>
      <p:sp>
        <p:nvSpPr>
          <p:cNvPr id="14" name="Footer Placeholder 4"/>
          <p:cNvSpPr>
            <a:spLocks noGrp="1"/>
          </p:cNvSpPr>
          <p:nvPr>
            <p:ph type="ftr" sz="quarter" idx="3"/>
          </p:nvPr>
        </p:nvSpPr>
        <p:spPr>
          <a:xfrm>
            <a:off x="3124200" y="6356352"/>
            <a:ext cx="2895600" cy="365125"/>
          </a:xfrm>
          <a:prstGeom prst="rect">
            <a:avLst/>
          </a:prstGeom>
        </p:spPr>
        <p:txBody>
          <a:bodyPr vert="horz" lIns="91434" tIns="45717" rIns="91434" bIns="45717"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15" name="Slide Number Placeholder 5"/>
          <p:cNvSpPr>
            <a:spLocks noGrp="1"/>
          </p:cNvSpPr>
          <p:nvPr>
            <p:ph type="sldNum" sz="quarter" idx="4"/>
          </p:nvPr>
        </p:nvSpPr>
        <p:spPr>
          <a:xfrm>
            <a:off x="6553200" y="6356352"/>
            <a:ext cx="2133600" cy="365125"/>
          </a:xfrm>
          <a:prstGeom prst="rect">
            <a:avLst/>
          </a:prstGeom>
        </p:spPr>
        <p:txBody>
          <a:bodyPr vert="horz" lIns="91434" tIns="45717" rIns="91434" bIns="45717" rtlCol="0" anchor="ctr"/>
          <a:lstStyle>
            <a:lvl1pPr algn="r">
              <a:defRPr sz="1200">
                <a:solidFill>
                  <a:schemeClr val="tx1">
                    <a:tint val="75000"/>
                  </a:schemeClr>
                </a:solidFill>
              </a:defRPr>
            </a:lvl1p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
        <p:nvSpPr>
          <p:cNvPr id="3" name="Content Placeholder 2"/>
          <p:cNvSpPr>
            <a:spLocks noGrp="1"/>
          </p:cNvSpPr>
          <p:nvPr>
            <p:ph sz="quarter" idx="10"/>
          </p:nvPr>
        </p:nvSpPr>
        <p:spPr>
          <a:xfrm>
            <a:off x="2971800" y="1295400"/>
            <a:ext cx="5943600" cy="4978400"/>
          </a:xfrm>
        </p:spPr>
        <p:txBody>
          <a:bodyPr/>
          <a:lstStyle>
            <a:lvl1pPr>
              <a:defRPr>
                <a:solidFill>
                  <a:schemeClr val="accent2">
                    <a:lumMod val="60000"/>
                    <a:lumOff val="40000"/>
                  </a:schemeClr>
                </a:solidFill>
              </a:defRPr>
            </a:lvl1pPr>
            <a:lvl2pPr>
              <a:defRPr>
                <a:solidFill>
                  <a:schemeClr val="accent2">
                    <a:lumMod val="60000"/>
                    <a:lumOff val="40000"/>
                  </a:schemeClr>
                </a:solidFill>
              </a:defRPr>
            </a:lvl2pPr>
            <a:lvl3pPr>
              <a:defRPr>
                <a:solidFill>
                  <a:schemeClr val="accent2">
                    <a:lumMod val="60000"/>
                    <a:lumOff val="40000"/>
                  </a:schemeClr>
                </a:solidFill>
              </a:defRPr>
            </a:lvl3pPr>
            <a:lvl4pPr>
              <a:defRPr>
                <a:solidFill>
                  <a:schemeClr val="accent2">
                    <a:lumMod val="60000"/>
                    <a:lumOff val="40000"/>
                  </a:schemeClr>
                </a:solidFill>
              </a:defRPr>
            </a:lvl4pPr>
            <a:lvl5pPr>
              <a:defRPr>
                <a:solidFill>
                  <a:schemeClr val="accent2">
                    <a:lumMod val="60000"/>
                    <a:lumOff val="4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807888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No Side Graphic">
    <p:spTree>
      <p:nvGrpSpPr>
        <p:cNvPr id="1" name=""/>
        <p:cNvGrpSpPr/>
        <p:nvPr/>
      </p:nvGrpSpPr>
      <p:grpSpPr>
        <a:xfrm>
          <a:off x="0" y="0"/>
          <a:ext cx="0" cy="0"/>
          <a:chOff x="0" y="0"/>
          <a:chExt cx="0" cy="0"/>
        </a:xfrm>
      </p:grpSpPr>
      <p:sp>
        <p:nvSpPr>
          <p:cNvPr id="13" name="Date Placeholder 3"/>
          <p:cNvSpPr>
            <a:spLocks noGrp="1"/>
          </p:cNvSpPr>
          <p:nvPr>
            <p:ph type="dt" sz="half" idx="2"/>
          </p:nvPr>
        </p:nvSpPr>
        <p:spPr>
          <a:xfrm>
            <a:off x="457200" y="6356352"/>
            <a:ext cx="2133600" cy="365125"/>
          </a:xfrm>
          <a:prstGeom prst="rect">
            <a:avLst/>
          </a:prstGeom>
        </p:spPr>
        <p:txBody>
          <a:bodyPr vert="horz" lIns="91434" tIns="45717" rIns="91434" bIns="45717" rtlCol="0" anchor="ctr"/>
          <a:lstStyle>
            <a:lvl1pPr algn="l">
              <a:defRPr sz="1200">
                <a:solidFill>
                  <a:schemeClr val="tx1">
                    <a:tint val="75000"/>
                  </a:schemeClr>
                </a:solidFill>
              </a:defRPr>
            </a:lvl1pPr>
          </a:lstStyle>
          <a:p>
            <a:fld id="{8AB0C8F4-F89C-4268-B363-B8AF3A1F314B}" type="datetime1">
              <a:rPr lang="en-US" smtClean="0">
                <a:solidFill>
                  <a:prstClr val="black">
                    <a:tint val="75000"/>
                  </a:prstClr>
                </a:solidFill>
              </a:rPr>
              <a:t>10/10/2018</a:t>
            </a:fld>
            <a:endParaRPr lang="en-US">
              <a:solidFill>
                <a:prstClr val="black">
                  <a:tint val="75000"/>
                </a:prstClr>
              </a:solidFill>
            </a:endParaRPr>
          </a:p>
        </p:txBody>
      </p:sp>
      <p:sp>
        <p:nvSpPr>
          <p:cNvPr id="14" name="Footer Placeholder 4"/>
          <p:cNvSpPr>
            <a:spLocks noGrp="1"/>
          </p:cNvSpPr>
          <p:nvPr>
            <p:ph type="ftr" sz="quarter" idx="3"/>
          </p:nvPr>
        </p:nvSpPr>
        <p:spPr>
          <a:xfrm>
            <a:off x="3124200" y="6356352"/>
            <a:ext cx="2895600" cy="365125"/>
          </a:xfrm>
          <a:prstGeom prst="rect">
            <a:avLst/>
          </a:prstGeom>
        </p:spPr>
        <p:txBody>
          <a:bodyPr vert="horz" lIns="91434" tIns="45717" rIns="91434" bIns="45717"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15" name="Slide Number Placeholder 5"/>
          <p:cNvSpPr>
            <a:spLocks noGrp="1"/>
          </p:cNvSpPr>
          <p:nvPr>
            <p:ph type="sldNum" sz="quarter" idx="4"/>
          </p:nvPr>
        </p:nvSpPr>
        <p:spPr>
          <a:xfrm>
            <a:off x="6553200" y="6356352"/>
            <a:ext cx="2133600" cy="365125"/>
          </a:xfrm>
          <a:prstGeom prst="rect">
            <a:avLst/>
          </a:prstGeom>
        </p:spPr>
        <p:txBody>
          <a:bodyPr vert="horz" lIns="91434" tIns="45717" rIns="91434" bIns="45717" rtlCol="0" anchor="ctr"/>
          <a:lstStyle>
            <a:lvl1pPr algn="r">
              <a:defRPr sz="1200">
                <a:solidFill>
                  <a:schemeClr val="tx1">
                    <a:tint val="75000"/>
                  </a:schemeClr>
                </a:solidFill>
              </a:defRPr>
            </a:lvl1p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
        <p:nvSpPr>
          <p:cNvPr id="4" name="Content Placeholder 3"/>
          <p:cNvSpPr>
            <a:spLocks noGrp="1"/>
          </p:cNvSpPr>
          <p:nvPr>
            <p:ph sz="quarter" idx="10"/>
          </p:nvPr>
        </p:nvSpPr>
        <p:spPr>
          <a:xfrm>
            <a:off x="2819400" y="1295400"/>
            <a:ext cx="6172200" cy="4876800"/>
          </a:xfrm>
        </p:spPr>
        <p:txBody>
          <a:bodyPr/>
          <a:lstStyle>
            <a:lvl1pPr>
              <a:defRPr>
                <a:solidFill>
                  <a:schemeClr val="accent2">
                    <a:lumMod val="60000"/>
                    <a:lumOff val="40000"/>
                  </a:schemeClr>
                </a:solidFill>
              </a:defRPr>
            </a:lvl1pPr>
            <a:lvl2pPr>
              <a:defRPr>
                <a:solidFill>
                  <a:schemeClr val="accent2">
                    <a:lumMod val="60000"/>
                    <a:lumOff val="40000"/>
                  </a:schemeClr>
                </a:solidFill>
              </a:defRPr>
            </a:lvl2pPr>
            <a:lvl3pPr>
              <a:defRPr>
                <a:solidFill>
                  <a:schemeClr val="accent2">
                    <a:lumMod val="60000"/>
                    <a:lumOff val="40000"/>
                  </a:schemeClr>
                </a:solidFill>
              </a:defRPr>
            </a:lvl3pPr>
            <a:lvl4pPr>
              <a:defRPr>
                <a:solidFill>
                  <a:schemeClr val="accent2">
                    <a:lumMod val="60000"/>
                    <a:lumOff val="40000"/>
                  </a:schemeClr>
                </a:solidFill>
              </a:defRPr>
            </a:lvl4pPr>
            <a:lvl5pPr>
              <a:defRPr>
                <a:solidFill>
                  <a:schemeClr val="accent2">
                    <a:lumMod val="60000"/>
                    <a:lumOff val="4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263124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438400" y="2084389"/>
            <a:ext cx="7086600" cy="1362075"/>
          </a:xfrm>
        </p:spPr>
        <p:txBody>
          <a:bodyPr anchor="t"/>
          <a:lstStyle>
            <a:lvl1pPr algn="l">
              <a:defRPr sz="4000" b="0" cap="all">
                <a:solidFill>
                  <a:schemeClr val="bg1">
                    <a:lumMod val="10000"/>
                  </a:schemeClr>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2438400" y="584201"/>
            <a:ext cx="7086600" cy="1500187"/>
          </a:xfrm>
        </p:spPr>
        <p:txBody>
          <a:bodyPr anchor="b"/>
          <a:lstStyle>
            <a:lvl1pPr marL="0" indent="0">
              <a:buNone/>
              <a:defRPr sz="2000">
                <a:solidFill>
                  <a:schemeClr val="bg1">
                    <a:lumMod val="10000"/>
                  </a:schemeClr>
                </a:solidFill>
              </a:defRPr>
            </a:lvl1pPr>
            <a:lvl2pPr marL="457166" indent="0">
              <a:buNone/>
              <a:defRPr sz="1800">
                <a:solidFill>
                  <a:schemeClr val="tx1">
                    <a:tint val="75000"/>
                  </a:schemeClr>
                </a:solidFill>
              </a:defRPr>
            </a:lvl2pPr>
            <a:lvl3pPr marL="914333" indent="0">
              <a:buNone/>
              <a:defRPr sz="1600">
                <a:solidFill>
                  <a:schemeClr val="tx1">
                    <a:tint val="75000"/>
                  </a:schemeClr>
                </a:solidFill>
              </a:defRPr>
            </a:lvl3pPr>
            <a:lvl4pPr marL="1371498" indent="0">
              <a:buNone/>
              <a:defRPr sz="1400">
                <a:solidFill>
                  <a:schemeClr val="tx1">
                    <a:tint val="75000"/>
                  </a:schemeClr>
                </a:solidFill>
              </a:defRPr>
            </a:lvl4pPr>
            <a:lvl5pPr marL="1828664" indent="0">
              <a:buNone/>
              <a:defRPr sz="1400">
                <a:solidFill>
                  <a:schemeClr val="tx1">
                    <a:tint val="75000"/>
                  </a:schemeClr>
                </a:solidFill>
              </a:defRPr>
            </a:lvl5pPr>
            <a:lvl6pPr marL="2285829" indent="0">
              <a:buNone/>
              <a:defRPr sz="1400">
                <a:solidFill>
                  <a:schemeClr val="tx1">
                    <a:tint val="75000"/>
                  </a:schemeClr>
                </a:solidFill>
              </a:defRPr>
            </a:lvl6pPr>
            <a:lvl7pPr marL="2742995" indent="0">
              <a:buNone/>
              <a:defRPr sz="1400">
                <a:solidFill>
                  <a:schemeClr val="tx1">
                    <a:tint val="75000"/>
                  </a:schemeClr>
                </a:solidFill>
              </a:defRPr>
            </a:lvl7pPr>
            <a:lvl8pPr marL="3200160" indent="0">
              <a:buNone/>
              <a:defRPr sz="1400">
                <a:solidFill>
                  <a:schemeClr val="tx1">
                    <a:tint val="75000"/>
                  </a:schemeClr>
                </a:solidFill>
              </a:defRPr>
            </a:lvl8pPr>
            <a:lvl9pPr marL="3657326"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CEC64A1-C50A-4759-B298-B4364D3F0349}" type="datetime1">
              <a:rPr lang="en-US" smtClean="0">
                <a:solidFill>
                  <a:prstClr val="black">
                    <a:tint val="75000"/>
                  </a:prstClr>
                </a:solidFill>
              </a:r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490071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438400" y="1498600"/>
            <a:ext cx="1929114" cy="3048000"/>
          </a:xfrm>
        </p:spPr>
        <p:txBody>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24400" y="1498600"/>
            <a:ext cx="1929114" cy="3048000"/>
          </a:xfrm>
        </p:spPr>
        <p:txBody>
          <a:bodyPr/>
          <a:lstStyle>
            <a:lvl1pPr>
              <a:defRPr sz="2000"/>
            </a:lvl1pPr>
            <a:lvl2pP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C71ECBAD-EB15-4236-B44A-F39C94422B1D}" type="datetime1">
              <a:rPr lang="en-US" smtClean="0">
                <a:solidFill>
                  <a:prstClr val="black">
                    <a:tint val="75000"/>
                  </a:prstClr>
                </a:solidFill>
              </a:rPr>
              <a:t>10/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2004273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19400" y="304801"/>
            <a:ext cx="3732334" cy="639763"/>
          </a:xfrm>
        </p:spPr>
        <p:txBody>
          <a:bodyPr anchor="b">
            <a:noAutofit/>
          </a:bodyPr>
          <a:lstStyle>
            <a:lvl1pPr marL="0" indent="0">
              <a:buNone/>
              <a:defRPr sz="20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2819400" y="1066805"/>
            <a:ext cx="3732334" cy="5105399"/>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858000" y="304801"/>
            <a:ext cx="3733800" cy="639763"/>
          </a:xfrm>
        </p:spPr>
        <p:txBody>
          <a:bodyPr anchor="b">
            <a:noAutofit/>
          </a:bodyPr>
          <a:lstStyle>
            <a:lvl1pPr marL="0" indent="0">
              <a:buNone/>
              <a:defRPr sz="20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858000" y="1066805"/>
            <a:ext cx="3733800" cy="5105399"/>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E437B48E-C214-4D79-80E5-BFD84D412A8B}" type="datetime1">
              <a:rPr lang="en-US" smtClean="0">
                <a:solidFill>
                  <a:prstClr val="black">
                    <a:tint val="75000"/>
                  </a:prstClr>
                </a:solidFill>
              </a:rPr>
              <a:t>10/10/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26909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B3D508-C9D3-4E5D-9CCE-4CA10014A6E3}" type="datetime1">
              <a:rPr lang="en-US" smtClean="0"/>
              <a:t>10/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13606761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4257477-7C0B-4DCB-88AE-18A0FD9A4DF4}" type="datetime1">
              <a:rPr lang="en-US" smtClean="0">
                <a:solidFill>
                  <a:prstClr val="black">
                    <a:tint val="75000"/>
                  </a:prstClr>
                </a:solidFill>
              </a:rPr>
              <a:t>10/10/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124002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8E6E0BA-1EFA-42C9-858C-E7840A7F852F}" type="datetime1">
              <a:rPr lang="en-US" smtClean="0">
                <a:solidFill>
                  <a:prstClr val="black">
                    <a:tint val="75000"/>
                  </a:prstClr>
                </a:solidFill>
              </a:rPr>
              <a:t>10/10/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8887185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52404" y="23471"/>
            <a:ext cx="5726575" cy="674688"/>
          </a:xfrm>
        </p:spPr>
        <p:txBody>
          <a:bodyPr anchor="ctr" anchorCtr="0"/>
          <a:lstStyle>
            <a:lvl1pPr algn="l">
              <a:defRPr sz="2000" b="1">
                <a:solidFill>
                  <a:schemeClr val="bg1">
                    <a:lumMod val="90000"/>
                  </a:schemeClr>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4038600" y="1715531"/>
            <a:ext cx="3962400" cy="3426940"/>
          </a:xfrm>
        </p:spPr>
        <p:txBody>
          <a:bodyPr>
            <a:normAutofit/>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533400" y="1803400"/>
            <a:ext cx="2286000" cy="3657600"/>
          </a:xfrm>
        </p:spPr>
        <p:txBody>
          <a:bodyPr anchor="ctr" anchorCtr="0"/>
          <a:lstStyle>
            <a:lvl1pPr marL="0" indent="0" algn="ctr">
              <a:buNone/>
              <a:defRPr sz="1400">
                <a:solidFill>
                  <a:schemeClr val="bg1">
                    <a:lumMod val="90000"/>
                  </a:schemeClr>
                </a:solidFill>
              </a:defRPr>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fld id="{4EB15279-9102-41BD-BD46-12DFFAA82060}" type="datetime1">
              <a:rPr lang="en-US" smtClean="0">
                <a:solidFill>
                  <a:prstClr val="black">
                    <a:tint val="75000"/>
                  </a:prstClr>
                </a:solidFill>
              </a:rPr>
              <a:t>10/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764503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124200" y="4792665"/>
            <a:ext cx="5486400" cy="566739"/>
          </a:xfrm>
        </p:spPr>
        <p:txBody>
          <a:bodyPr anchor="b"/>
          <a:lstStyle>
            <a:lvl1pPr algn="l">
              <a:defRPr sz="2000" b="1">
                <a:solidFill>
                  <a:schemeClr val="tx1">
                    <a:lumMod val="65000"/>
                    <a:lumOff val="35000"/>
                  </a:schemeClr>
                </a:solidFill>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2971800" y="177800"/>
            <a:ext cx="5943600" cy="4470400"/>
          </a:xfrm>
        </p:spPr>
        <p:txBody>
          <a:bodyPr/>
          <a:lstStyle>
            <a:lvl1pPr marL="0" indent="0">
              <a:buNone/>
              <a:defRPr sz="3200"/>
            </a:lvl1pPr>
            <a:lvl2pPr marL="457166" indent="0">
              <a:buNone/>
              <a:defRPr sz="2800"/>
            </a:lvl2pPr>
            <a:lvl3pPr marL="914333" indent="0">
              <a:buNone/>
              <a:defRPr sz="2400"/>
            </a:lvl3pPr>
            <a:lvl4pPr marL="1371498" indent="0">
              <a:buNone/>
              <a:defRPr sz="2000"/>
            </a:lvl4pPr>
            <a:lvl5pPr marL="1828664" indent="0">
              <a:buNone/>
              <a:defRPr sz="2000"/>
            </a:lvl5pPr>
            <a:lvl6pPr marL="2285829" indent="0">
              <a:buNone/>
              <a:defRPr sz="2000"/>
            </a:lvl6pPr>
            <a:lvl7pPr marL="2742995" indent="0">
              <a:buNone/>
              <a:defRPr sz="2000"/>
            </a:lvl7pPr>
            <a:lvl8pPr marL="3200160" indent="0">
              <a:buNone/>
              <a:defRPr sz="2000"/>
            </a:lvl8pPr>
            <a:lvl9pPr marL="3657326" indent="0">
              <a:buNone/>
              <a:defRPr sz="2000"/>
            </a:lvl9pPr>
          </a:lstStyle>
          <a:p>
            <a:endParaRPr lang="en-US"/>
          </a:p>
        </p:txBody>
      </p:sp>
      <p:sp>
        <p:nvSpPr>
          <p:cNvPr id="4" name="Text Placeholder 3"/>
          <p:cNvSpPr>
            <a:spLocks noGrp="1"/>
          </p:cNvSpPr>
          <p:nvPr>
            <p:ph type="body" sz="half" idx="2"/>
          </p:nvPr>
        </p:nvSpPr>
        <p:spPr>
          <a:xfrm>
            <a:off x="3124200" y="5359405"/>
            <a:ext cx="5486400" cy="804863"/>
          </a:xfrm>
        </p:spPr>
        <p:txBody>
          <a:bodyPr/>
          <a:lstStyle>
            <a:lvl1pPr marL="0" indent="0">
              <a:buNone/>
              <a:defRPr sz="1400">
                <a:solidFill>
                  <a:schemeClr val="bg1">
                    <a:lumMod val="90000"/>
                  </a:schemeClr>
                </a:solidFill>
              </a:defRPr>
            </a:lvl1pPr>
            <a:lvl2pPr marL="457166" indent="0">
              <a:buNone/>
              <a:defRPr sz="1200"/>
            </a:lvl2pPr>
            <a:lvl3pPr marL="914333" indent="0">
              <a:buNone/>
              <a:defRPr sz="1000"/>
            </a:lvl3pPr>
            <a:lvl4pPr marL="1371498" indent="0">
              <a:buNone/>
              <a:defRPr sz="900"/>
            </a:lvl4pPr>
            <a:lvl5pPr marL="1828664" indent="0">
              <a:buNone/>
              <a:defRPr sz="900"/>
            </a:lvl5pPr>
            <a:lvl6pPr marL="2285829" indent="0">
              <a:buNone/>
              <a:defRPr sz="900"/>
            </a:lvl6pPr>
            <a:lvl7pPr marL="2742995" indent="0">
              <a:buNone/>
              <a:defRPr sz="900"/>
            </a:lvl7pPr>
            <a:lvl8pPr marL="3200160" indent="0">
              <a:buNone/>
              <a:defRPr sz="900"/>
            </a:lvl8pPr>
            <a:lvl9pPr marL="3657326"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D804A9-2213-49D7-BDC6-3E5E00BAB848}" type="datetime1">
              <a:rPr lang="en-US" smtClean="0">
                <a:solidFill>
                  <a:prstClr val="black">
                    <a:tint val="75000"/>
                  </a:prstClr>
                </a:solidFill>
              </a:rPr>
              <a:t>10/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1237980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1D29946-40BF-4956-8AB6-EF938076112B}" type="datetime1">
              <a:rPr lang="en-US" smtClean="0">
                <a:solidFill>
                  <a:prstClr val="black">
                    <a:tint val="75000"/>
                  </a:prstClr>
                </a:solidFill>
              </a:r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5671895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696200" y="304800"/>
            <a:ext cx="990600" cy="5851525"/>
          </a:xfrm>
        </p:spPr>
        <p:txBody>
          <a:bodyPr vert="eaVert"/>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274640"/>
            <a:ext cx="7162800"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AA75CE60-6985-4E37-86DF-10CD7267EC5B}" type="datetime1">
              <a:rPr lang="en-US" smtClean="0">
                <a:solidFill>
                  <a:prstClr val="black">
                    <a:tint val="75000"/>
                  </a:prstClr>
                </a:solidFill>
              </a:r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67075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Summar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81582BD6-FC20-4557-852B-8433F8572D30}" type="slidenum">
              <a:rPr lang="en-US" smtClean="0">
                <a:solidFill>
                  <a:prstClr val="black">
                    <a:tint val="75000"/>
                  </a:prstClr>
                </a:solidFill>
              </a:rPr>
              <a:pPr/>
              <a:t>‹#›</a:t>
            </a:fld>
            <a:endParaRPr lang="en-US" dirty="0">
              <a:solidFill>
                <a:prstClr val="black">
                  <a:tint val="75000"/>
                </a:prstClr>
              </a:solidFill>
            </a:endParaRPr>
          </a:p>
        </p:txBody>
      </p:sp>
      <p:sp>
        <p:nvSpPr>
          <p:cNvPr id="9" name="Text Placeholder 8"/>
          <p:cNvSpPr>
            <a:spLocks noGrp="1"/>
          </p:cNvSpPr>
          <p:nvPr>
            <p:ph type="body" sz="quarter" idx="15"/>
          </p:nvPr>
        </p:nvSpPr>
        <p:spPr>
          <a:xfrm>
            <a:off x="2362200" y="1422400"/>
            <a:ext cx="4648200" cy="838200"/>
          </a:xfrm>
        </p:spPr>
        <p:txBody>
          <a:bodyPr anchor="ctr">
            <a:normAutofit/>
          </a:bodyPr>
          <a:lstStyle>
            <a:lvl1pPr marL="57146" indent="0">
              <a:buFontTx/>
              <a:buNone/>
              <a:defRPr sz="1800" baseline="0">
                <a:solidFill>
                  <a:schemeClr val="bg1">
                    <a:lumMod val="95000"/>
                  </a:schemeClr>
                </a:solidFill>
              </a:defRPr>
            </a:lvl1pPr>
          </a:lstStyle>
          <a:p>
            <a:pPr lvl="0"/>
            <a:r>
              <a:rPr lang="en-US" dirty="0" smtClean="0"/>
              <a:t>Click to edit Master text styles</a:t>
            </a:r>
          </a:p>
        </p:txBody>
      </p:sp>
      <p:sp>
        <p:nvSpPr>
          <p:cNvPr id="7" name="Text Placeholder 8"/>
          <p:cNvSpPr>
            <a:spLocks noGrp="1"/>
          </p:cNvSpPr>
          <p:nvPr>
            <p:ph type="body" sz="quarter" idx="16"/>
          </p:nvPr>
        </p:nvSpPr>
        <p:spPr>
          <a:xfrm>
            <a:off x="2362200" y="2260600"/>
            <a:ext cx="4648200" cy="838200"/>
          </a:xfrm>
        </p:spPr>
        <p:txBody>
          <a:bodyPr anchor="ctr">
            <a:normAutofit/>
          </a:bodyPr>
          <a:lstStyle>
            <a:lvl1pPr marL="57146" indent="0">
              <a:buFontTx/>
              <a:buNone/>
              <a:defRPr sz="1800" baseline="0">
                <a:solidFill>
                  <a:schemeClr val="bg1">
                    <a:lumMod val="95000"/>
                  </a:schemeClr>
                </a:solidFill>
              </a:defRPr>
            </a:lvl1pPr>
          </a:lstStyle>
          <a:p>
            <a:pPr lvl="0"/>
            <a:r>
              <a:rPr lang="en-US" dirty="0" smtClean="0"/>
              <a:t>Click to edit Master text styles</a:t>
            </a:r>
          </a:p>
        </p:txBody>
      </p:sp>
      <p:sp>
        <p:nvSpPr>
          <p:cNvPr id="8" name="Text Placeholder 8"/>
          <p:cNvSpPr>
            <a:spLocks noGrp="1"/>
          </p:cNvSpPr>
          <p:nvPr>
            <p:ph type="body" sz="quarter" idx="17"/>
          </p:nvPr>
        </p:nvSpPr>
        <p:spPr>
          <a:xfrm>
            <a:off x="2362200" y="3098800"/>
            <a:ext cx="4648200" cy="838200"/>
          </a:xfrm>
        </p:spPr>
        <p:txBody>
          <a:bodyPr anchor="ctr">
            <a:normAutofit/>
          </a:bodyPr>
          <a:lstStyle>
            <a:lvl1pPr marL="57146" indent="0">
              <a:buFontTx/>
              <a:buNone/>
              <a:defRPr sz="1800" baseline="0">
                <a:solidFill>
                  <a:schemeClr val="bg1">
                    <a:lumMod val="95000"/>
                  </a:schemeClr>
                </a:solidFill>
              </a:defRPr>
            </a:lvl1pPr>
          </a:lstStyle>
          <a:p>
            <a:pPr lvl="0"/>
            <a:r>
              <a:rPr lang="en-US" dirty="0" smtClean="0"/>
              <a:t>Click to edit Master text styles</a:t>
            </a:r>
          </a:p>
        </p:txBody>
      </p:sp>
      <p:sp>
        <p:nvSpPr>
          <p:cNvPr id="12" name="Text Placeholder 8"/>
          <p:cNvSpPr>
            <a:spLocks noGrp="1"/>
          </p:cNvSpPr>
          <p:nvPr>
            <p:ph type="body" sz="quarter" idx="18"/>
          </p:nvPr>
        </p:nvSpPr>
        <p:spPr>
          <a:xfrm>
            <a:off x="2362200" y="3937000"/>
            <a:ext cx="4648200" cy="838200"/>
          </a:xfrm>
        </p:spPr>
        <p:txBody>
          <a:bodyPr anchor="ctr">
            <a:normAutofit/>
          </a:bodyPr>
          <a:lstStyle>
            <a:lvl1pPr marL="57146" indent="0">
              <a:buFontTx/>
              <a:buNone/>
              <a:defRPr sz="1800" baseline="0">
                <a:solidFill>
                  <a:schemeClr val="bg1">
                    <a:lumMod val="95000"/>
                  </a:schemeClr>
                </a:solidFill>
              </a:defRPr>
            </a:lvl1pPr>
          </a:lstStyle>
          <a:p>
            <a:pPr lvl="0"/>
            <a:r>
              <a:rPr lang="en-US" dirty="0" smtClean="0"/>
              <a:t>Click to edit Master text styles</a:t>
            </a:r>
          </a:p>
        </p:txBody>
      </p:sp>
      <p:sp>
        <p:nvSpPr>
          <p:cNvPr id="2" name="Title 1"/>
          <p:cNvSpPr>
            <a:spLocks noGrp="1"/>
          </p:cNvSpPr>
          <p:nvPr>
            <p:ph type="title"/>
          </p:nvPr>
        </p:nvSpPr>
        <p:spPr>
          <a:xfrm>
            <a:off x="152401" y="177804"/>
            <a:ext cx="6553202" cy="525463"/>
          </a:xfrm>
        </p:spPr>
        <p:txBody>
          <a:bodyPr/>
          <a:lstStyle>
            <a:lvl1pPr algn="l">
              <a:defRPr/>
            </a:lvl1pPr>
          </a:lstStyle>
          <a:p>
            <a:r>
              <a:rPr lang="en-US" smtClean="0"/>
              <a:t>Click to edit Master title style</a:t>
            </a:r>
            <a:endParaRPr lang="en-US"/>
          </a:p>
        </p:txBody>
      </p:sp>
    </p:spTree>
    <p:extLst>
      <p:ext uri="{BB962C8B-B14F-4D97-AF65-F5344CB8AC3E}">
        <p14:creationId xmlns:p14="http://schemas.microsoft.com/office/powerpoint/2010/main" val="278457426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Agenda/Summar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81582BD6-FC20-4557-852B-8433F8572D30}" type="slidenum">
              <a:rPr lang="en-US" smtClean="0">
                <a:solidFill>
                  <a:prstClr val="black">
                    <a:tint val="75000"/>
                  </a:prstClr>
                </a:solidFill>
              </a:rPr>
              <a:pPr/>
              <a:t>‹#›</a:t>
            </a:fld>
            <a:endParaRPr lang="en-US" dirty="0">
              <a:solidFill>
                <a:prstClr val="black">
                  <a:tint val="75000"/>
                </a:prstClr>
              </a:solidFill>
            </a:endParaRPr>
          </a:p>
        </p:txBody>
      </p:sp>
      <p:sp>
        <p:nvSpPr>
          <p:cNvPr id="9" name="Text Placeholder 8"/>
          <p:cNvSpPr>
            <a:spLocks noGrp="1"/>
          </p:cNvSpPr>
          <p:nvPr>
            <p:ph type="body" sz="quarter" idx="15"/>
          </p:nvPr>
        </p:nvSpPr>
        <p:spPr>
          <a:xfrm>
            <a:off x="6629400" y="2234527"/>
            <a:ext cx="1905000" cy="3937676"/>
          </a:xfrm>
        </p:spPr>
        <p:txBody>
          <a:bodyPr anchor="ctr" anchorCtr="0">
            <a:normAutofit/>
          </a:bodyPr>
          <a:lstStyle>
            <a:lvl1pPr marL="57146" indent="0" algn="ctr">
              <a:buFontTx/>
              <a:buNone/>
              <a:defRPr sz="1800" baseline="0">
                <a:solidFill>
                  <a:schemeClr val="bg1"/>
                </a:solidFill>
              </a:defRPr>
            </a:lvl1pPr>
          </a:lstStyle>
          <a:p>
            <a:pPr lvl="0"/>
            <a:r>
              <a:rPr lang="en-US" dirty="0" smtClean="0"/>
              <a:t>Click to edit Master text styles</a:t>
            </a:r>
          </a:p>
        </p:txBody>
      </p:sp>
      <p:sp>
        <p:nvSpPr>
          <p:cNvPr id="7" name="Text Placeholder 8"/>
          <p:cNvSpPr>
            <a:spLocks noGrp="1"/>
          </p:cNvSpPr>
          <p:nvPr>
            <p:ph type="body" sz="quarter" idx="16"/>
          </p:nvPr>
        </p:nvSpPr>
        <p:spPr>
          <a:xfrm>
            <a:off x="3581400" y="2209800"/>
            <a:ext cx="1905000" cy="3977605"/>
          </a:xfrm>
        </p:spPr>
        <p:txBody>
          <a:bodyPr anchor="ctr" anchorCtr="0">
            <a:normAutofit/>
          </a:bodyPr>
          <a:lstStyle>
            <a:lvl1pPr marL="57146" indent="0" algn="ctr">
              <a:buFontTx/>
              <a:buNone/>
              <a:defRPr sz="1800" baseline="0">
                <a:solidFill>
                  <a:schemeClr val="bg1"/>
                </a:solidFill>
              </a:defRPr>
            </a:lvl1pPr>
          </a:lstStyle>
          <a:p>
            <a:pPr lvl="0"/>
            <a:r>
              <a:rPr lang="en-US" dirty="0" smtClean="0"/>
              <a:t>Click to edit Master text styles</a:t>
            </a:r>
          </a:p>
        </p:txBody>
      </p:sp>
      <p:sp>
        <p:nvSpPr>
          <p:cNvPr id="8" name="Text Placeholder 8"/>
          <p:cNvSpPr>
            <a:spLocks noGrp="1"/>
          </p:cNvSpPr>
          <p:nvPr>
            <p:ph type="body" sz="quarter" idx="17"/>
          </p:nvPr>
        </p:nvSpPr>
        <p:spPr>
          <a:xfrm>
            <a:off x="533400" y="2234527"/>
            <a:ext cx="1905000" cy="3937676"/>
          </a:xfrm>
        </p:spPr>
        <p:txBody>
          <a:bodyPr anchor="ctr" anchorCtr="0">
            <a:normAutofit/>
          </a:bodyPr>
          <a:lstStyle>
            <a:lvl1pPr marL="57146" indent="0" algn="ctr">
              <a:buFontTx/>
              <a:buNone/>
              <a:defRPr sz="1800" baseline="0">
                <a:solidFill>
                  <a:schemeClr val="bg1"/>
                </a:solidFill>
              </a:defRPr>
            </a:lvl1pPr>
          </a:lstStyle>
          <a:p>
            <a:pPr lvl="0"/>
            <a:r>
              <a:rPr lang="en-US" dirty="0" smtClean="0"/>
              <a:t>Click to edit Master text styles</a:t>
            </a:r>
          </a:p>
        </p:txBody>
      </p:sp>
      <p:sp>
        <p:nvSpPr>
          <p:cNvPr id="2" name="Title 1"/>
          <p:cNvSpPr>
            <a:spLocks noGrp="1"/>
          </p:cNvSpPr>
          <p:nvPr>
            <p:ph type="title"/>
          </p:nvPr>
        </p:nvSpPr>
        <p:spPr>
          <a:xfrm>
            <a:off x="152401" y="177804"/>
            <a:ext cx="6553202" cy="525463"/>
          </a:xfrm>
        </p:spPr>
        <p:txBody>
          <a:bodyPr/>
          <a:lstStyle>
            <a:lvl1pPr algn="l">
              <a:defRPr>
                <a:solidFill>
                  <a:schemeClr val="bg1">
                    <a:lumMod val="65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2721313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81582BD6-FC20-4557-852B-8433F8572D30}" type="slidenum">
              <a:rPr lang="en-US" smtClean="0">
                <a:solidFill>
                  <a:prstClr val="black">
                    <a:tint val="75000"/>
                  </a:prstClr>
                </a:solidFill>
              </a:rPr>
              <a:pPr/>
              <a:t>‹#›</a:t>
            </a:fld>
            <a:endParaRPr lang="en-US" dirty="0">
              <a:solidFill>
                <a:prstClr val="black">
                  <a:tint val="75000"/>
                </a:prstClr>
              </a:solidFill>
            </a:endParaRPr>
          </a:p>
        </p:txBody>
      </p:sp>
      <p:sp>
        <p:nvSpPr>
          <p:cNvPr id="5" name="Content Placeholder 2"/>
          <p:cNvSpPr>
            <a:spLocks noGrp="1"/>
          </p:cNvSpPr>
          <p:nvPr>
            <p:ph sz="half" idx="1"/>
          </p:nvPr>
        </p:nvSpPr>
        <p:spPr>
          <a:xfrm>
            <a:off x="914400" y="304800"/>
            <a:ext cx="3276600" cy="3124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6" name="Content Placeholder 3"/>
          <p:cNvSpPr>
            <a:spLocks noGrp="1"/>
          </p:cNvSpPr>
          <p:nvPr>
            <p:ph sz="half" idx="2"/>
          </p:nvPr>
        </p:nvSpPr>
        <p:spPr>
          <a:xfrm>
            <a:off x="4343400" y="304801"/>
            <a:ext cx="4495800" cy="3125315"/>
          </a:xfrm>
        </p:spPr>
        <p:txBody>
          <a:bodyPr anchor="ctr">
            <a:normAutofit/>
          </a:bodyPr>
          <a:lstStyle>
            <a:lvl1pPr>
              <a:defRPr sz="20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9" name="Content Placeholder 2"/>
          <p:cNvSpPr>
            <a:spLocks noGrp="1"/>
          </p:cNvSpPr>
          <p:nvPr>
            <p:ph sz="half" idx="14"/>
          </p:nvPr>
        </p:nvSpPr>
        <p:spPr>
          <a:xfrm>
            <a:off x="914400" y="3429000"/>
            <a:ext cx="3276600" cy="304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10" name="Content Placeholder 3"/>
          <p:cNvSpPr>
            <a:spLocks noGrp="1"/>
          </p:cNvSpPr>
          <p:nvPr>
            <p:ph sz="half" idx="15"/>
          </p:nvPr>
        </p:nvSpPr>
        <p:spPr>
          <a:xfrm>
            <a:off x="4191000" y="3429000"/>
            <a:ext cx="4648200" cy="3048000"/>
          </a:xfrm>
        </p:spPr>
        <p:txBody>
          <a:bodyPr anchor="ctr">
            <a:normAutofit/>
          </a:bodyPr>
          <a:lstStyle>
            <a:lvl1pPr>
              <a:defRPr sz="20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742265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3124200" y="7559675"/>
            <a:ext cx="2895600" cy="365125"/>
          </a:xfrm>
        </p:spPr>
        <p:txBody>
          <a:bodyPr/>
          <a:lstStyle>
            <a:lvl1pPr>
              <a:defRPr>
                <a:solidFill>
                  <a:schemeClr val="accent2">
                    <a:lumMod val="60000"/>
                    <a:lumOff val="40000"/>
                  </a:schemeClr>
                </a:solidFill>
              </a:defRPr>
            </a:lvl1pPr>
          </a:lstStyle>
          <a:p>
            <a:endParaRPr lang="en-US" dirty="0">
              <a:solidFill>
                <a:srgbClr val="F7291E">
                  <a:lumMod val="60000"/>
                  <a:lumOff val="40000"/>
                </a:srgbClr>
              </a:solidFill>
            </a:endParaRPr>
          </a:p>
        </p:txBody>
      </p:sp>
      <p:sp>
        <p:nvSpPr>
          <p:cNvPr id="4" name="Slide Number Placeholder 3"/>
          <p:cNvSpPr>
            <a:spLocks noGrp="1"/>
          </p:cNvSpPr>
          <p:nvPr>
            <p:ph type="sldNum" sz="quarter" idx="11"/>
          </p:nvPr>
        </p:nvSpPr>
        <p:spPr>
          <a:xfrm>
            <a:off x="6553200" y="7559675"/>
            <a:ext cx="2133600" cy="365125"/>
          </a:xfrm>
        </p:spPr>
        <p:txBody>
          <a:bodyPr/>
          <a:lstStyle>
            <a:lvl1pPr>
              <a:defRPr>
                <a:solidFill>
                  <a:schemeClr val="accent2">
                    <a:lumMod val="60000"/>
                    <a:lumOff val="40000"/>
                  </a:schemeClr>
                </a:solidFill>
              </a:defRPr>
            </a:lvl1pPr>
          </a:lstStyle>
          <a:p>
            <a:fld id="{81582BD6-FC20-4557-852B-8433F8572D30}" type="slidenum">
              <a:rPr lang="en-US" smtClean="0">
                <a:solidFill>
                  <a:srgbClr val="F7291E">
                    <a:lumMod val="60000"/>
                    <a:lumOff val="40000"/>
                  </a:srgbClr>
                </a:solidFill>
              </a:rPr>
              <a:pPr/>
              <a:t>‹#›</a:t>
            </a:fld>
            <a:endParaRPr lang="en-US" dirty="0">
              <a:solidFill>
                <a:srgbClr val="F7291E">
                  <a:lumMod val="60000"/>
                  <a:lumOff val="40000"/>
                </a:srgbClr>
              </a:solidFill>
            </a:endParaRPr>
          </a:p>
        </p:txBody>
      </p:sp>
      <p:sp>
        <p:nvSpPr>
          <p:cNvPr id="15" name="Content Placeholder 2"/>
          <p:cNvSpPr>
            <a:spLocks noGrp="1"/>
          </p:cNvSpPr>
          <p:nvPr>
            <p:ph sz="half" idx="15"/>
          </p:nvPr>
        </p:nvSpPr>
        <p:spPr>
          <a:xfrm>
            <a:off x="685803" y="-2235199"/>
            <a:ext cx="2514597" cy="2514600"/>
          </a:xfrm>
        </p:spPr>
        <p:txBody>
          <a:bodyPr/>
          <a:lstStyle>
            <a:lvl1pPr>
              <a:defRPr sz="2800">
                <a:solidFill>
                  <a:schemeClr val="accent2">
                    <a:lumMod val="60000"/>
                    <a:lumOff val="40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6" name="Content Placeholder 3"/>
          <p:cNvSpPr>
            <a:spLocks noGrp="1"/>
          </p:cNvSpPr>
          <p:nvPr>
            <p:ph sz="half" idx="16"/>
          </p:nvPr>
        </p:nvSpPr>
        <p:spPr>
          <a:xfrm>
            <a:off x="3390896" y="-2235199"/>
            <a:ext cx="2514600" cy="2514600"/>
          </a:xfrm>
        </p:spPr>
        <p:txBody>
          <a:bodyPr/>
          <a:lstStyle>
            <a:lvl1pPr>
              <a:defRPr sz="2800">
                <a:solidFill>
                  <a:schemeClr val="accent2">
                    <a:lumMod val="60000"/>
                    <a:lumOff val="40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7" name="Content Placeholder 3"/>
          <p:cNvSpPr>
            <a:spLocks noGrp="1"/>
          </p:cNvSpPr>
          <p:nvPr>
            <p:ph sz="half" idx="17"/>
          </p:nvPr>
        </p:nvSpPr>
        <p:spPr>
          <a:xfrm>
            <a:off x="6095996" y="-2235199"/>
            <a:ext cx="2514600" cy="2514600"/>
          </a:xfrm>
        </p:spPr>
        <p:txBody>
          <a:bodyPr/>
          <a:lstStyle>
            <a:lvl1pPr>
              <a:defRPr sz="2800">
                <a:solidFill>
                  <a:schemeClr val="accent2">
                    <a:lumMod val="60000"/>
                    <a:lumOff val="40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2" name="Title 1"/>
          <p:cNvSpPr>
            <a:spLocks noGrp="1"/>
          </p:cNvSpPr>
          <p:nvPr>
            <p:ph type="title"/>
          </p:nvPr>
        </p:nvSpPr>
        <p:spPr>
          <a:xfrm>
            <a:off x="76201" y="177804"/>
            <a:ext cx="6553202" cy="525463"/>
          </a:xfrm>
        </p:spPr>
        <p:txBody>
          <a:bodyPr/>
          <a:lstStyle>
            <a:lvl1pPr algn="l">
              <a:defRPr>
                <a:solidFill>
                  <a:schemeClr val="accent2">
                    <a:lumMod val="60000"/>
                    <a:lumOff val="40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450706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0"/>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8C8ED672-1612-4CB7-89DF-4446B03A1E01}" type="datetime1">
              <a:rPr lang="en-US" smtClean="0"/>
              <a:t>10/1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11995230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5E779F1-369E-4B88-B6B2-C444AD8BC058}" type="datetime1">
              <a:rPr lang="en-US" smtClean="0">
                <a:solidFill>
                  <a:prstClr val="black">
                    <a:tint val="75000"/>
                  </a:prstClr>
                </a:solidFill>
              </a:r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
        <p:nvSpPr>
          <p:cNvPr id="10" name="Title 9"/>
          <p:cNvSpPr>
            <a:spLocks noGrp="1"/>
          </p:cNvSpPr>
          <p:nvPr>
            <p:ph type="title"/>
          </p:nvPr>
        </p:nvSpPr>
        <p:spPr>
          <a:xfrm>
            <a:off x="2971801" y="177804"/>
            <a:ext cx="6019802" cy="525463"/>
          </a:xfrm>
        </p:spPr>
        <p:txBody>
          <a:bodyPr/>
          <a:lstStyle>
            <a:lvl1pPr algn="l">
              <a:defRPr>
                <a:solidFill>
                  <a:schemeClr val="accent1">
                    <a:lumMod val="60000"/>
                    <a:lumOff val="40000"/>
                  </a:schemeClr>
                </a:solidFill>
              </a:defRPr>
            </a:lvl1pPr>
          </a:lstStyle>
          <a:p>
            <a:r>
              <a:rPr lang="en-US" smtClean="0"/>
              <a:t>Click to edit Master title style</a:t>
            </a:r>
            <a:endParaRPr lang="en-US"/>
          </a:p>
        </p:txBody>
      </p:sp>
      <p:sp>
        <p:nvSpPr>
          <p:cNvPr id="13" name="Content Placeholder 12"/>
          <p:cNvSpPr>
            <a:spLocks noGrp="1"/>
          </p:cNvSpPr>
          <p:nvPr>
            <p:ph sz="quarter" idx="13"/>
          </p:nvPr>
        </p:nvSpPr>
        <p:spPr>
          <a:xfrm>
            <a:off x="2971800" y="990600"/>
            <a:ext cx="6019800" cy="5181600"/>
          </a:xfrm>
        </p:spPr>
        <p:txBody>
          <a:bodyPr/>
          <a:lstStyle>
            <a:lvl1pPr>
              <a:defRPr>
                <a:solidFill>
                  <a:schemeClr val="accent2">
                    <a:lumMod val="60000"/>
                    <a:lumOff val="40000"/>
                  </a:schemeClr>
                </a:solidFill>
              </a:defRPr>
            </a:lvl1pPr>
            <a:lvl2pPr>
              <a:defRPr>
                <a:solidFill>
                  <a:schemeClr val="accent2">
                    <a:lumMod val="60000"/>
                    <a:lumOff val="40000"/>
                  </a:schemeClr>
                </a:solidFill>
              </a:defRPr>
            </a:lvl2pPr>
            <a:lvl3pPr>
              <a:defRPr>
                <a:solidFill>
                  <a:schemeClr val="accent2">
                    <a:lumMod val="60000"/>
                    <a:lumOff val="40000"/>
                  </a:schemeClr>
                </a:solidFill>
              </a:defRPr>
            </a:lvl3pPr>
            <a:lvl4pPr>
              <a:defRPr>
                <a:solidFill>
                  <a:schemeClr val="accent2">
                    <a:lumMod val="60000"/>
                    <a:lumOff val="40000"/>
                  </a:schemeClr>
                </a:solidFill>
              </a:defRPr>
            </a:lvl4pPr>
            <a:lvl5pPr>
              <a:defRPr>
                <a:solidFill>
                  <a:schemeClr val="accent2">
                    <a:lumMod val="60000"/>
                    <a:lumOff val="4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831635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Light Backgroun">
    <p:spTree>
      <p:nvGrpSpPr>
        <p:cNvPr id="1" name=""/>
        <p:cNvGrpSpPr/>
        <p:nvPr/>
      </p:nvGrpSpPr>
      <p:grpSpPr>
        <a:xfrm>
          <a:off x="0" y="0"/>
          <a:ext cx="0" cy="0"/>
          <a:chOff x="0" y="0"/>
          <a:chExt cx="0" cy="0"/>
        </a:xfrm>
      </p:grpSpPr>
      <p:sp>
        <p:nvSpPr>
          <p:cNvPr id="13" name="Date Placeholder 3"/>
          <p:cNvSpPr>
            <a:spLocks noGrp="1"/>
          </p:cNvSpPr>
          <p:nvPr>
            <p:ph type="dt" sz="half" idx="2"/>
          </p:nvPr>
        </p:nvSpPr>
        <p:spPr>
          <a:xfrm>
            <a:off x="457200" y="6356352"/>
            <a:ext cx="2133600" cy="365125"/>
          </a:xfrm>
          <a:prstGeom prst="rect">
            <a:avLst/>
          </a:prstGeom>
        </p:spPr>
        <p:txBody>
          <a:bodyPr vert="horz" lIns="91434" tIns="45717" rIns="91434" bIns="45717" rtlCol="0" anchor="ctr"/>
          <a:lstStyle>
            <a:lvl1pPr algn="l">
              <a:defRPr sz="1200">
                <a:solidFill>
                  <a:schemeClr val="tx1">
                    <a:tint val="75000"/>
                  </a:schemeClr>
                </a:solidFill>
              </a:defRPr>
            </a:lvl1pPr>
          </a:lstStyle>
          <a:p>
            <a:fld id="{D87C4C84-564D-4CE2-8DE5-1A1C0ADBE337}" type="datetime1">
              <a:rPr lang="en-US" smtClean="0">
                <a:solidFill>
                  <a:prstClr val="black">
                    <a:tint val="75000"/>
                  </a:prstClr>
                </a:solidFill>
              </a:rPr>
              <a:t>10/10/2018</a:t>
            </a:fld>
            <a:endParaRPr lang="en-US">
              <a:solidFill>
                <a:prstClr val="black">
                  <a:tint val="75000"/>
                </a:prstClr>
              </a:solidFill>
            </a:endParaRPr>
          </a:p>
        </p:txBody>
      </p:sp>
      <p:sp>
        <p:nvSpPr>
          <p:cNvPr id="14" name="Footer Placeholder 4"/>
          <p:cNvSpPr>
            <a:spLocks noGrp="1"/>
          </p:cNvSpPr>
          <p:nvPr>
            <p:ph type="ftr" sz="quarter" idx="3"/>
          </p:nvPr>
        </p:nvSpPr>
        <p:spPr>
          <a:xfrm>
            <a:off x="3124200" y="6356352"/>
            <a:ext cx="2895600" cy="365125"/>
          </a:xfrm>
          <a:prstGeom prst="rect">
            <a:avLst/>
          </a:prstGeom>
        </p:spPr>
        <p:txBody>
          <a:bodyPr vert="horz" lIns="91434" tIns="45717" rIns="91434" bIns="45717"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15" name="Slide Number Placeholder 5"/>
          <p:cNvSpPr>
            <a:spLocks noGrp="1"/>
          </p:cNvSpPr>
          <p:nvPr>
            <p:ph type="sldNum" sz="quarter" idx="4"/>
          </p:nvPr>
        </p:nvSpPr>
        <p:spPr>
          <a:xfrm>
            <a:off x="6553200" y="6356352"/>
            <a:ext cx="2133600" cy="365125"/>
          </a:xfrm>
          <a:prstGeom prst="rect">
            <a:avLst/>
          </a:prstGeom>
        </p:spPr>
        <p:txBody>
          <a:bodyPr vert="horz" lIns="91434" tIns="45717" rIns="91434" bIns="45717" rtlCol="0" anchor="ctr"/>
          <a:lstStyle>
            <a:lvl1pPr algn="r">
              <a:defRPr sz="1200">
                <a:solidFill>
                  <a:schemeClr val="tx1">
                    <a:tint val="75000"/>
                  </a:schemeClr>
                </a:solidFill>
              </a:defRPr>
            </a:lvl1p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
        <p:nvSpPr>
          <p:cNvPr id="3" name="Content Placeholder 2"/>
          <p:cNvSpPr>
            <a:spLocks noGrp="1"/>
          </p:cNvSpPr>
          <p:nvPr>
            <p:ph sz="quarter" idx="10"/>
          </p:nvPr>
        </p:nvSpPr>
        <p:spPr>
          <a:xfrm>
            <a:off x="2971800" y="1295400"/>
            <a:ext cx="5943600" cy="4978400"/>
          </a:xfrm>
        </p:spPr>
        <p:txBody>
          <a:bodyPr/>
          <a:lstStyle>
            <a:lvl1pPr>
              <a:defRPr>
                <a:solidFill>
                  <a:schemeClr val="accent2">
                    <a:lumMod val="60000"/>
                    <a:lumOff val="40000"/>
                  </a:schemeClr>
                </a:solidFill>
              </a:defRPr>
            </a:lvl1pPr>
            <a:lvl2pPr>
              <a:defRPr>
                <a:solidFill>
                  <a:schemeClr val="accent2">
                    <a:lumMod val="60000"/>
                    <a:lumOff val="40000"/>
                  </a:schemeClr>
                </a:solidFill>
              </a:defRPr>
            </a:lvl2pPr>
            <a:lvl3pPr>
              <a:defRPr>
                <a:solidFill>
                  <a:schemeClr val="accent2">
                    <a:lumMod val="60000"/>
                    <a:lumOff val="40000"/>
                  </a:schemeClr>
                </a:solidFill>
              </a:defRPr>
            </a:lvl3pPr>
            <a:lvl4pPr>
              <a:defRPr>
                <a:solidFill>
                  <a:schemeClr val="accent2">
                    <a:lumMod val="60000"/>
                    <a:lumOff val="40000"/>
                  </a:schemeClr>
                </a:solidFill>
              </a:defRPr>
            </a:lvl4pPr>
            <a:lvl5pPr>
              <a:defRPr>
                <a:solidFill>
                  <a:schemeClr val="accent2">
                    <a:lumMod val="60000"/>
                    <a:lumOff val="4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424284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No Side Graphic">
    <p:spTree>
      <p:nvGrpSpPr>
        <p:cNvPr id="1" name=""/>
        <p:cNvGrpSpPr/>
        <p:nvPr/>
      </p:nvGrpSpPr>
      <p:grpSpPr>
        <a:xfrm>
          <a:off x="0" y="0"/>
          <a:ext cx="0" cy="0"/>
          <a:chOff x="0" y="0"/>
          <a:chExt cx="0" cy="0"/>
        </a:xfrm>
      </p:grpSpPr>
      <p:sp>
        <p:nvSpPr>
          <p:cNvPr id="13" name="Date Placeholder 3"/>
          <p:cNvSpPr>
            <a:spLocks noGrp="1"/>
          </p:cNvSpPr>
          <p:nvPr>
            <p:ph type="dt" sz="half" idx="2"/>
          </p:nvPr>
        </p:nvSpPr>
        <p:spPr>
          <a:xfrm>
            <a:off x="457200" y="6356352"/>
            <a:ext cx="2133600" cy="365125"/>
          </a:xfrm>
          <a:prstGeom prst="rect">
            <a:avLst/>
          </a:prstGeom>
        </p:spPr>
        <p:txBody>
          <a:bodyPr vert="horz" lIns="91434" tIns="45717" rIns="91434" bIns="45717" rtlCol="0" anchor="ctr"/>
          <a:lstStyle>
            <a:lvl1pPr algn="l">
              <a:defRPr sz="1200">
                <a:solidFill>
                  <a:schemeClr val="tx1">
                    <a:tint val="75000"/>
                  </a:schemeClr>
                </a:solidFill>
              </a:defRPr>
            </a:lvl1pPr>
          </a:lstStyle>
          <a:p>
            <a:fld id="{6C9E06DB-7459-42EF-A6D8-AB56EE36D88C}" type="datetime1">
              <a:rPr lang="en-US" smtClean="0">
                <a:solidFill>
                  <a:prstClr val="black">
                    <a:tint val="75000"/>
                  </a:prstClr>
                </a:solidFill>
              </a:rPr>
              <a:t>10/10/2018</a:t>
            </a:fld>
            <a:endParaRPr lang="en-US">
              <a:solidFill>
                <a:prstClr val="black">
                  <a:tint val="75000"/>
                </a:prstClr>
              </a:solidFill>
            </a:endParaRPr>
          </a:p>
        </p:txBody>
      </p:sp>
      <p:sp>
        <p:nvSpPr>
          <p:cNvPr id="14" name="Footer Placeholder 4"/>
          <p:cNvSpPr>
            <a:spLocks noGrp="1"/>
          </p:cNvSpPr>
          <p:nvPr>
            <p:ph type="ftr" sz="quarter" idx="3"/>
          </p:nvPr>
        </p:nvSpPr>
        <p:spPr>
          <a:xfrm>
            <a:off x="3124200" y="6356352"/>
            <a:ext cx="2895600" cy="365125"/>
          </a:xfrm>
          <a:prstGeom prst="rect">
            <a:avLst/>
          </a:prstGeom>
        </p:spPr>
        <p:txBody>
          <a:bodyPr vert="horz" lIns="91434" tIns="45717" rIns="91434" bIns="45717"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15" name="Slide Number Placeholder 5"/>
          <p:cNvSpPr>
            <a:spLocks noGrp="1"/>
          </p:cNvSpPr>
          <p:nvPr>
            <p:ph type="sldNum" sz="quarter" idx="4"/>
          </p:nvPr>
        </p:nvSpPr>
        <p:spPr>
          <a:xfrm>
            <a:off x="6553200" y="6356352"/>
            <a:ext cx="2133600" cy="365125"/>
          </a:xfrm>
          <a:prstGeom prst="rect">
            <a:avLst/>
          </a:prstGeom>
        </p:spPr>
        <p:txBody>
          <a:bodyPr vert="horz" lIns="91434" tIns="45717" rIns="91434" bIns="45717" rtlCol="0" anchor="ctr"/>
          <a:lstStyle>
            <a:lvl1pPr algn="r">
              <a:defRPr sz="1200">
                <a:solidFill>
                  <a:schemeClr val="tx1">
                    <a:tint val="75000"/>
                  </a:schemeClr>
                </a:solidFill>
              </a:defRPr>
            </a:lvl1p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
        <p:nvSpPr>
          <p:cNvPr id="4" name="Content Placeholder 3"/>
          <p:cNvSpPr>
            <a:spLocks noGrp="1"/>
          </p:cNvSpPr>
          <p:nvPr>
            <p:ph sz="quarter" idx="10"/>
          </p:nvPr>
        </p:nvSpPr>
        <p:spPr>
          <a:xfrm>
            <a:off x="3276598" y="1295400"/>
            <a:ext cx="6172200" cy="4876800"/>
          </a:xfrm>
        </p:spPr>
        <p:txBody>
          <a:bodyPr/>
          <a:lstStyle>
            <a:lvl1pPr>
              <a:defRPr>
                <a:solidFill>
                  <a:schemeClr val="accent2">
                    <a:lumMod val="60000"/>
                    <a:lumOff val="40000"/>
                  </a:schemeClr>
                </a:solidFill>
              </a:defRPr>
            </a:lvl1pPr>
            <a:lvl2pPr>
              <a:defRPr>
                <a:solidFill>
                  <a:schemeClr val="accent2">
                    <a:lumMod val="60000"/>
                    <a:lumOff val="40000"/>
                  </a:schemeClr>
                </a:solidFill>
              </a:defRPr>
            </a:lvl2pPr>
            <a:lvl3pPr>
              <a:defRPr>
                <a:solidFill>
                  <a:schemeClr val="accent2">
                    <a:lumMod val="60000"/>
                    <a:lumOff val="40000"/>
                  </a:schemeClr>
                </a:solidFill>
              </a:defRPr>
            </a:lvl3pPr>
            <a:lvl4pPr>
              <a:defRPr>
                <a:solidFill>
                  <a:schemeClr val="accent2">
                    <a:lumMod val="60000"/>
                    <a:lumOff val="40000"/>
                  </a:schemeClr>
                </a:solidFill>
              </a:defRPr>
            </a:lvl4pPr>
            <a:lvl5pPr>
              <a:defRPr>
                <a:solidFill>
                  <a:schemeClr val="accent2">
                    <a:lumMod val="60000"/>
                    <a:lumOff val="4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3200398" y="381005"/>
            <a:ext cx="6553202" cy="525463"/>
          </a:xfrm>
        </p:spPr>
        <p:txBody>
          <a:bodyPr/>
          <a:lstStyle>
            <a:lvl1pPr algn="l">
              <a:defRPr/>
            </a:lvl1pPr>
          </a:lstStyle>
          <a:p>
            <a:r>
              <a:rPr lang="en-US" smtClean="0"/>
              <a:t>Click to edit Master title style</a:t>
            </a:r>
            <a:endParaRPr lang="en-US"/>
          </a:p>
        </p:txBody>
      </p:sp>
    </p:spTree>
    <p:extLst>
      <p:ext uri="{BB962C8B-B14F-4D97-AF65-F5344CB8AC3E}">
        <p14:creationId xmlns:p14="http://schemas.microsoft.com/office/powerpoint/2010/main" val="1306804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819400" y="304801"/>
            <a:ext cx="3732334" cy="639763"/>
          </a:xfrm>
        </p:spPr>
        <p:txBody>
          <a:bodyPr anchor="b">
            <a:noAutofit/>
          </a:bodyPr>
          <a:lstStyle>
            <a:lvl1pPr marL="0" indent="0">
              <a:buNone/>
              <a:defRPr sz="20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2819400" y="1066805"/>
            <a:ext cx="3732334" cy="5105399"/>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858000" y="304801"/>
            <a:ext cx="3733800" cy="639763"/>
          </a:xfrm>
        </p:spPr>
        <p:txBody>
          <a:bodyPr anchor="b">
            <a:noAutofit/>
          </a:bodyPr>
          <a:lstStyle>
            <a:lvl1pPr marL="0" indent="0">
              <a:buNone/>
              <a:defRPr sz="2000" b="1"/>
            </a:lvl1pPr>
            <a:lvl2pPr marL="457166" indent="0">
              <a:buNone/>
              <a:defRPr sz="2000" b="1"/>
            </a:lvl2pPr>
            <a:lvl3pPr marL="914333" indent="0">
              <a:buNone/>
              <a:defRPr sz="1800" b="1"/>
            </a:lvl3pPr>
            <a:lvl4pPr marL="1371498" indent="0">
              <a:buNone/>
              <a:defRPr sz="1600" b="1"/>
            </a:lvl4pPr>
            <a:lvl5pPr marL="1828664" indent="0">
              <a:buNone/>
              <a:defRPr sz="1600" b="1"/>
            </a:lvl5pPr>
            <a:lvl6pPr marL="2285829" indent="0">
              <a:buNone/>
              <a:defRPr sz="1600" b="1"/>
            </a:lvl6pPr>
            <a:lvl7pPr marL="2742995" indent="0">
              <a:buNone/>
              <a:defRPr sz="1600" b="1"/>
            </a:lvl7pPr>
            <a:lvl8pPr marL="3200160" indent="0">
              <a:buNone/>
              <a:defRPr sz="1600" b="1"/>
            </a:lvl8pPr>
            <a:lvl9pPr marL="3657326"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858000" y="1066805"/>
            <a:ext cx="3733800" cy="5105399"/>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59F2853B-E6A9-4123-8859-383A67E96151}" type="datetime1">
              <a:rPr lang="en-US" smtClean="0">
                <a:solidFill>
                  <a:prstClr val="black">
                    <a:tint val="75000"/>
                  </a:prstClr>
                </a:solidFill>
              </a:rPr>
              <a:t>10/10/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D99AA8B-2E7A-4BBC-8FDE-CA7CF71DD330}" type="slidenum">
              <a:rPr lang="en-US" smtClean="0">
                <a:solidFill>
                  <a:prstClr val="black">
                    <a:tint val="75000"/>
                  </a:prstClr>
                </a:solidFill>
              </a:rPr>
              <a:pPr/>
              <a:t>‹#›</a:t>
            </a:fld>
            <a:endParaRPr lang="en-US">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257343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Agenda/Summar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81582BD6-FC20-4557-852B-8433F8572D30}" type="slidenum">
              <a:rPr lang="en-US" smtClean="0">
                <a:solidFill>
                  <a:prstClr val="black">
                    <a:tint val="75000"/>
                  </a:prstClr>
                </a:solidFill>
              </a:rPr>
              <a:pPr/>
              <a:t>‹#›</a:t>
            </a:fld>
            <a:endParaRPr lang="en-US" dirty="0">
              <a:solidFill>
                <a:prstClr val="black">
                  <a:tint val="75000"/>
                </a:prstClr>
              </a:solidFill>
            </a:endParaRPr>
          </a:p>
        </p:txBody>
      </p:sp>
      <p:sp>
        <p:nvSpPr>
          <p:cNvPr id="9" name="Text Placeholder 8"/>
          <p:cNvSpPr>
            <a:spLocks noGrp="1"/>
          </p:cNvSpPr>
          <p:nvPr>
            <p:ph type="body" sz="quarter" idx="15"/>
          </p:nvPr>
        </p:nvSpPr>
        <p:spPr>
          <a:xfrm>
            <a:off x="2362200" y="1422400"/>
            <a:ext cx="4648200" cy="838200"/>
          </a:xfrm>
        </p:spPr>
        <p:txBody>
          <a:bodyPr anchor="ctr">
            <a:normAutofit/>
          </a:bodyPr>
          <a:lstStyle>
            <a:lvl1pPr marL="57146" indent="0">
              <a:buFontTx/>
              <a:buNone/>
              <a:defRPr sz="1800" baseline="0"/>
            </a:lvl1pPr>
          </a:lstStyle>
          <a:p>
            <a:pPr lvl="0"/>
            <a:r>
              <a:rPr lang="en-US" dirty="0" smtClean="0"/>
              <a:t>Click to edit Master text styles</a:t>
            </a:r>
          </a:p>
        </p:txBody>
      </p:sp>
      <p:sp>
        <p:nvSpPr>
          <p:cNvPr id="7" name="Text Placeholder 8"/>
          <p:cNvSpPr>
            <a:spLocks noGrp="1"/>
          </p:cNvSpPr>
          <p:nvPr>
            <p:ph type="body" sz="quarter" idx="16"/>
          </p:nvPr>
        </p:nvSpPr>
        <p:spPr>
          <a:xfrm>
            <a:off x="2362200" y="2260600"/>
            <a:ext cx="4648200" cy="838200"/>
          </a:xfrm>
        </p:spPr>
        <p:txBody>
          <a:bodyPr anchor="ctr">
            <a:normAutofit/>
          </a:bodyPr>
          <a:lstStyle>
            <a:lvl1pPr marL="57146" indent="0">
              <a:buFontTx/>
              <a:buNone/>
              <a:defRPr sz="1800" baseline="0"/>
            </a:lvl1pPr>
          </a:lstStyle>
          <a:p>
            <a:pPr lvl="0"/>
            <a:r>
              <a:rPr lang="en-US" dirty="0" smtClean="0"/>
              <a:t>Click to edit Master text styles</a:t>
            </a:r>
          </a:p>
        </p:txBody>
      </p:sp>
      <p:sp>
        <p:nvSpPr>
          <p:cNvPr id="8" name="Text Placeholder 8"/>
          <p:cNvSpPr>
            <a:spLocks noGrp="1"/>
          </p:cNvSpPr>
          <p:nvPr>
            <p:ph type="body" sz="quarter" idx="17"/>
          </p:nvPr>
        </p:nvSpPr>
        <p:spPr>
          <a:xfrm>
            <a:off x="2362200" y="3098800"/>
            <a:ext cx="4648200" cy="838200"/>
          </a:xfrm>
        </p:spPr>
        <p:txBody>
          <a:bodyPr anchor="ctr">
            <a:normAutofit/>
          </a:bodyPr>
          <a:lstStyle>
            <a:lvl1pPr marL="57146" indent="0">
              <a:buFontTx/>
              <a:buNone/>
              <a:defRPr sz="1800" baseline="0"/>
            </a:lvl1pPr>
          </a:lstStyle>
          <a:p>
            <a:pPr lvl="0"/>
            <a:r>
              <a:rPr lang="en-US" dirty="0" smtClean="0"/>
              <a:t>Click to edit Master text styles</a:t>
            </a:r>
          </a:p>
        </p:txBody>
      </p:sp>
      <p:sp>
        <p:nvSpPr>
          <p:cNvPr id="12" name="Text Placeholder 8"/>
          <p:cNvSpPr>
            <a:spLocks noGrp="1"/>
          </p:cNvSpPr>
          <p:nvPr>
            <p:ph type="body" sz="quarter" idx="18"/>
          </p:nvPr>
        </p:nvSpPr>
        <p:spPr>
          <a:xfrm>
            <a:off x="2362200" y="3937000"/>
            <a:ext cx="4648200" cy="838200"/>
          </a:xfrm>
        </p:spPr>
        <p:txBody>
          <a:bodyPr anchor="ctr">
            <a:normAutofit/>
          </a:bodyPr>
          <a:lstStyle>
            <a:lvl1pPr marL="57146" indent="0">
              <a:buFontTx/>
              <a:buNone/>
              <a:defRPr sz="1800" baseline="0"/>
            </a:lvl1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7097065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wo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81582BD6-FC20-4557-852B-8433F8572D30}" type="slidenum">
              <a:rPr lang="en-US" smtClean="0">
                <a:solidFill>
                  <a:prstClr val="black">
                    <a:tint val="75000"/>
                  </a:prstClr>
                </a:solidFill>
              </a:rPr>
              <a:pPr/>
              <a:t>‹#›</a:t>
            </a:fld>
            <a:endParaRPr lang="en-US" dirty="0">
              <a:solidFill>
                <a:prstClr val="black">
                  <a:tint val="75000"/>
                </a:prstClr>
              </a:solidFill>
            </a:endParaRPr>
          </a:p>
        </p:txBody>
      </p:sp>
      <p:sp>
        <p:nvSpPr>
          <p:cNvPr id="5" name="Content Placeholder 2"/>
          <p:cNvSpPr>
            <a:spLocks noGrp="1"/>
          </p:cNvSpPr>
          <p:nvPr>
            <p:ph sz="half" idx="1"/>
          </p:nvPr>
        </p:nvSpPr>
        <p:spPr>
          <a:xfrm>
            <a:off x="914400" y="304800"/>
            <a:ext cx="3276600" cy="3124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6" name="Content Placeholder 3"/>
          <p:cNvSpPr>
            <a:spLocks noGrp="1"/>
          </p:cNvSpPr>
          <p:nvPr>
            <p:ph sz="half" idx="2"/>
          </p:nvPr>
        </p:nvSpPr>
        <p:spPr>
          <a:xfrm>
            <a:off x="4343400" y="304801"/>
            <a:ext cx="4495800" cy="3125315"/>
          </a:xfrm>
        </p:spPr>
        <p:txBody>
          <a:bodyPr anchor="ctr">
            <a:normAutofit/>
          </a:bodyPr>
          <a:lstStyle>
            <a:lvl1pPr>
              <a:defRPr sz="20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9" name="Content Placeholder 2"/>
          <p:cNvSpPr>
            <a:spLocks noGrp="1"/>
          </p:cNvSpPr>
          <p:nvPr>
            <p:ph sz="half" idx="14"/>
          </p:nvPr>
        </p:nvSpPr>
        <p:spPr>
          <a:xfrm>
            <a:off x="914400" y="3429000"/>
            <a:ext cx="3276600" cy="304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10" name="Content Placeholder 3"/>
          <p:cNvSpPr>
            <a:spLocks noGrp="1"/>
          </p:cNvSpPr>
          <p:nvPr>
            <p:ph sz="half" idx="15"/>
          </p:nvPr>
        </p:nvSpPr>
        <p:spPr>
          <a:xfrm>
            <a:off x="4191000" y="3429000"/>
            <a:ext cx="4648200" cy="3048000"/>
          </a:xfrm>
        </p:spPr>
        <p:txBody>
          <a:bodyPr anchor="ctr">
            <a:normAutofit/>
          </a:bodyPr>
          <a:lstStyle>
            <a:lvl1pPr>
              <a:defRPr sz="20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197921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hree Pictur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3124200" y="7559675"/>
            <a:ext cx="2895600" cy="365125"/>
          </a:xfrm>
        </p:spPr>
        <p:txBody>
          <a:bodyPr/>
          <a:lstStyle/>
          <a:p>
            <a:endParaRPr lang="en-US" dirty="0">
              <a:solidFill>
                <a:prstClr val="black">
                  <a:tint val="75000"/>
                </a:prstClr>
              </a:solidFill>
            </a:endParaRPr>
          </a:p>
        </p:txBody>
      </p:sp>
      <p:sp>
        <p:nvSpPr>
          <p:cNvPr id="4" name="Slide Number Placeholder 3"/>
          <p:cNvSpPr>
            <a:spLocks noGrp="1"/>
          </p:cNvSpPr>
          <p:nvPr>
            <p:ph type="sldNum" sz="quarter" idx="11"/>
          </p:nvPr>
        </p:nvSpPr>
        <p:spPr>
          <a:xfrm>
            <a:off x="6553200" y="7559675"/>
            <a:ext cx="2133600" cy="365125"/>
          </a:xfrm>
        </p:spPr>
        <p:txBody>
          <a:bodyPr/>
          <a:lstStyle/>
          <a:p>
            <a:fld id="{81582BD6-FC20-4557-852B-8433F8572D30}" type="slidenum">
              <a:rPr lang="en-US" smtClean="0">
                <a:solidFill>
                  <a:prstClr val="black">
                    <a:tint val="75000"/>
                  </a:prstClr>
                </a:solidFill>
              </a:rPr>
              <a:pPr/>
              <a:t>‹#›</a:t>
            </a:fld>
            <a:endParaRPr lang="en-US" dirty="0">
              <a:solidFill>
                <a:prstClr val="black">
                  <a:tint val="75000"/>
                </a:prstClr>
              </a:solidFill>
            </a:endParaRPr>
          </a:p>
        </p:txBody>
      </p:sp>
      <p:sp>
        <p:nvSpPr>
          <p:cNvPr id="9" name="Content Placeholder 2"/>
          <p:cNvSpPr>
            <a:spLocks noGrp="1"/>
          </p:cNvSpPr>
          <p:nvPr>
            <p:ph sz="half" idx="1"/>
          </p:nvPr>
        </p:nvSpPr>
        <p:spPr>
          <a:xfrm>
            <a:off x="381003" y="3225806"/>
            <a:ext cx="2514597" cy="3352799"/>
          </a:xfrm>
        </p:spPr>
        <p:txBody>
          <a:bodyPr lIns="274301" tIns="0" rIns="182867">
            <a:normAutofit/>
          </a:bodyPr>
          <a:lstStyle>
            <a:lvl1pPr>
              <a:lnSpc>
                <a:spcPts val="2000"/>
              </a:lnSpc>
              <a:defRPr sz="1800">
                <a:solidFill>
                  <a:schemeClr val="accent2">
                    <a:lumMod val="60000"/>
                    <a:lumOff val="40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0" name="Content Placeholder 3"/>
          <p:cNvSpPr>
            <a:spLocks noGrp="1"/>
          </p:cNvSpPr>
          <p:nvPr>
            <p:ph sz="half" idx="2"/>
          </p:nvPr>
        </p:nvSpPr>
        <p:spPr>
          <a:xfrm>
            <a:off x="3086100" y="3225806"/>
            <a:ext cx="2514597" cy="3352799"/>
          </a:xfrm>
        </p:spPr>
        <p:txBody>
          <a:bodyPr lIns="274301" tIns="0" rIns="182867">
            <a:normAutofit/>
          </a:bodyPr>
          <a:lstStyle>
            <a:lvl1pPr>
              <a:lnSpc>
                <a:spcPts val="2000"/>
              </a:lnSpc>
              <a:defRPr sz="1800">
                <a:solidFill>
                  <a:schemeClr val="accent2">
                    <a:lumMod val="60000"/>
                    <a:lumOff val="40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1" name="Content Placeholder 3"/>
          <p:cNvSpPr>
            <a:spLocks noGrp="1"/>
          </p:cNvSpPr>
          <p:nvPr>
            <p:ph sz="half" idx="14"/>
          </p:nvPr>
        </p:nvSpPr>
        <p:spPr>
          <a:xfrm>
            <a:off x="5791197" y="3225806"/>
            <a:ext cx="2514597" cy="3352799"/>
          </a:xfrm>
        </p:spPr>
        <p:txBody>
          <a:bodyPr lIns="274301" tIns="0" rIns="182867">
            <a:normAutofit/>
          </a:bodyPr>
          <a:lstStyle>
            <a:lvl1pPr>
              <a:lnSpc>
                <a:spcPts val="2000"/>
              </a:lnSpc>
              <a:defRPr sz="1800">
                <a:solidFill>
                  <a:schemeClr val="accent2">
                    <a:lumMod val="60000"/>
                    <a:lumOff val="40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5" name="Content Placeholder 2"/>
          <p:cNvSpPr>
            <a:spLocks noGrp="1"/>
          </p:cNvSpPr>
          <p:nvPr>
            <p:ph sz="half" idx="15"/>
          </p:nvPr>
        </p:nvSpPr>
        <p:spPr>
          <a:xfrm>
            <a:off x="381003" y="711201"/>
            <a:ext cx="2514597" cy="2514600"/>
          </a:xfrm>
        </p:spPr>
        <p:txBody>
          <a:bodyPr/>
          <a:lstStyle>
            <a:lvl1pPr>
              <a:defRPr sz="2800">
                <a:solidFill>
                  <a:schemeClr val="accent2">
                    <a:lumMod val="60000"/>
                    <a:lumOff val="40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6" name="Content Placeholder 3"/>
          <p:cNvSpPr>
            <a:spLocks noGrp="1"/>
          </p:cNvSpPr>
          <p:nvPr>
            <p:ph sz="half" idx="16"/>
          </p:nvPr>
        </p:nvSpPr>
        <p:spPr>
          <a:xfrm>
            <a:off x="3086096" y="711201"/>
            <a:ext cx="2514600" cy="2514600"/>
          </a:xfrm>
        </p:spPr>
        <p:txBody>
          <a:bodyPr/>
          <a:lstStyle>
            <a:lvl1pPr>
              <a:defRPr sz="2800">
                <a:solidFill>
                  <a:schemeClr val="accent2">
                    <a:lumMod val="60000"/>
                    <a:lumOff val="40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17" name="Content Placeholder 3"/>
          <p:cNvSpPr>
            <a:spLocks noGrp="1"/>
          </p:cNvSpPr>
          <p:nvPr>
            <p:ph sz="half" idx="17"/>
          </p:nvPr>
        </p:nvSpPr>
        <p:spPr>
          <a:xfrm>
            <a:off x="5791196" y="711201"/>
            <a:ext cx="2514600" cy="2514600"/>
          </a:xfrm>
        </p:spPr>
        <p:txBody>
          <a:bodyPr/>
          <a:lstStyle>
            <a:lvl1pPr>
              <a:defRPr sz="2800">
                <a:solidFill>
                  <a:schemeClr val="accent2">
                    <a:lumMod val="60000"/>
                    <a:lumOff val="40000"/>
                  </a:schemeClr>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p:txBody>
      </p:sp>
      <p:sp>
        <p:nvSpPr>
          <p:cNvPr id="2" name="Title 1"/>
          <p:cNvSpPr>
            <a:spLocks noGrp="1"/>
          </p:cNvSpPr>
          <p:nvPr>
            <p:ph type="title"/>
          </p:nvPr>
        </p:nvSpPr>
        <p:spPr>
          <a:xfrm>
            <a:off x="152401" y="177804"/>
            <a:ext cx="6553202" cy="525463"/>
          </a:xfrm>
        </p:spPr>
        <p:txBody>
          <a:bodyPr/>
          <a:lstStyle>
            <a:lvl1pPr algn="l">
              <a:defRPr>
                <a:solidFill>
                  <a:schemeClr val="accent2">
                    <a:lumMod val="75000"/>
                  </a:schemeClr>
                </a:solidFill>
              </a:defRPr>
            </a:lvl1pPr>
          </a:lstStyle>
          <a:p>
            <a:r>
              <a:rPr lang="en-US" smtClean="0"/>
              <a:t>Click to edit Master title style</a:t>
            </a:r>
            <a:endParaRPr lang="en-US"/>
          </a:p>
        </p:txBody>
      </p:sp>
    </p:spTree>
    <p:extLst>
      <p:ext uri="{BB962C8B-B14F-4D97-AF65-F5344CB8AC3E}">
        <p14:creationId xmlns:p14="http://schemas.microsoft.com/office/powerpoint/2010/main" val="207955863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7"/>
            <a:ext cx="6858000" cy="1655763"/>
          </a:xfrm>
        </p:spPr>
        <p:txBody>
          <a:bodyPr/>
          <a:lstStyle>
            <a:lvl1pPr marL="0" indent="0" algn="ctr">
              <a:buNone/>
              <a:defRPr sz="1800"/>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4D2EA32-945A-4127-AB28-C222842AF240}" type="datetime1">
              <a:rPr lang="en-US" smtClean="0">
                <a:solidFill>
                  <a:prstClr val="black">
                    <a:tint val="75000"/>
                  </a:prstClr>
                </a:solidFill>
              </a:rPr>
              <a:p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38960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B3D508-C9D3-4E5D-9CCE-4CA10014A6E3}" type="datetime1">
              <a:rPr lang="en-US" smtClean="0">
                <a:solidFill>
                  <a:prstClr val="black">
                    <a:tint val="75000"/>
                  </a:prstClr>
                </a:solidFill>
              </a:rPr>
              <a:p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04577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0"/>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4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8C8ED672-1612-4CB7-89DF-4446B03A1E01}" type="datetime1">
              <a:rPr lang="en-US" smtClean="0">
                <a:solidFill>
                  <a:prstClr val="black">
                    <a:tint val="75000"/>
                  </a:prstClr>
                </a:solidFill>
              </a:rPr>
              <a:p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4695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7D76505-7F63-4A61-8DC7-0DF228E63CFC}" type="datetime1">
              <a:rPr lang="en-US" smtClean="0"/>
              <a:t>10/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2920062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9"/>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7D76505-7F63-4A61-8DC7-0DF228E63CFC}" type="datetime1">
              <a:rPr lang="en-US" smtClean="0">
                <a:solidFill>
                  <a:prstClr val="black">
                    <a:tint val="75000"/>
                  </a:prstClr>
                </a:solidFill>
              </a:rPr>
              <a:pPr/>
              <a:t>10/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87306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18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2248BE1-B0A4-4D31-9238-C301F1EF7C2E}" type="datetime1">
              <a:rPr lang="en-US" smtClean="0">
                <a:solidFill>
                  <a:prstClr val="black">
                    <a:tint val="75000"/>
                  </a:prstClr>
                </a:solidFill>
              </a:rPr>
              <a:pPr/>
              <a:t>10/10/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642427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7FA36A9-468B-4275-AD48-DD7BC3995730}" type="datetime1">
              <a:rPr lang="en-US" smtClean="0">
                <a:solidFill>
                  <a:prstClr val="black">
                    <a:tint val="75000"/>
                  </a:prstClr>
                </a:solidFill>
              </a:rPr>
              <a:pPr/>
              <a:t>10/10/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822336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D671517-003F-4AD0-AAE7-1A027F828C57}" type="datetime1">
              <a:rPr lang="en-US" smtClean="0">
                <a:solidFill>
                  <a:prstClr val="black">
                    <a:tint val="75000"/>
                  </a:prstClr>
                </a:solidFill>
              </a:rPr>
              <a:pPr/>
              <a:t>10/10/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50489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100"/>
            </a:lvl2pPr>
            <a:lvl3pPr marL="685800" indent="0">
              <a:buNone/>
              <a:defRPr sz="900"/>
            </a:lvl3pPr>
            <a:lvl4pPr marL="1028700" indent="0">
              <a:buNone/>
              <a:defRPr sz="800"/>
            </a:lvl4pPr>
            <a:lvl5pPr marL="1371600" indent="0">
              <a:buNone/>
              <a:defRPr sz="800"/>
            </a:lvl5pPr>
            <a:lvl6pPr marL="1714500" indent="0">
              <a:buNone/>
              <a:defRPr sz="800"/>
            </a:lvl6pPr>
            <a:lvl7pPr marL="2057400" indent="0">
              <a:buNone/>
              <a:defRPr sz="800"/>
            </a:lvl7pPr>
            <a:lvl8pPr marL="2400300" indent="0">
              <a:buNone/>
              <a:defRPr sz="800"/>
            </a:lvl8pPr>
            <a:lvl9pPr marL="2743200" indent="0">
              <a:buNone/>
              <a:defRPr sz="800"/>
            </a:lvl9pPr>
          </a:lstStyle>
          <a:p>
            <a:pPr lvl="0"/>
            <a:r>
              <a:rPr lang="en-US" smtClean="0"/>
              <a:t>Edit Master text styles</a:t>
            </a:r>
          </a:p>
        </p:txBody>
      </p:sp>
      <p:sp>
        <p:nvSpPr>
          <p:cNvPr id="5" name="Date Placeholder 4"/>
          <p:cNvSpPr>
            <a:spLocks noGrp="1"/>
          </p:cNvSpPr>
          <p:nvPr>
            <p:ph type="dt" sz="half" idx="10"/>
          </p:nvPr>
        </p:nvSpPr>
        <p:spPr/>
        <p:txBody>
          <a:bodyPr/>
          <a:lstStyle/>
          <a:p>
            <a:fld id="{509940FA-A5A0-43FA-AB03-C5D7D891268E}" type="datetime1">
              <a:rPr lang="en-US" smtClean="0">
                <a:solidFill>
                  <a:prstClr val="black">
                    <a:tint val="75000"/>
                  </a:prstClr>
                </a:solidFill>
              </a:rPr>
              <a:pPr/>
              <a:t>10/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527675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100"/>
            </a:lvl2pPr>
            <a:lvl3pPr marL="685800" indent="0">
              <a:buNone/>
              <a:defRPr sz="900"/>
            </a:lvl3pPr>
            <a:lvl4pPr marL="1028700" indent="0">
              <a:buNone/>
              <a:defRPr sz="800"/>
            </a:lvl4pPr>
            <a:lvl5pPr marL="1371600" indent="0">
              <a:buNone/>
              <a:defRPr sz="800"/>
            </a:lvl5pPr>
            <a:lvl6pPr marL="1714500" indent="0">
              <a:buNone/>
              <a:defRPr sz="800"/>
            </a:lvl6pPr>
            <a:lvl7pPr marL="2057400" indent="0">
              <a:buNone/>
              <a:defRPr sz="800"/>
            </a:lvl7pPr>
            <a:lvl8pPr marL="2400300" indent="0">
              <a:buNone/>
              <a:defRPr sz="800"/>
            </a:lvl8pPr>
            <a:lvl9pPr marL="2743200" indent="0">
              <a:buNone/>
              <a:defRPr sz="800"/>
            </a:lvl9pPr>
          </a:lstStyle>
          <a:p>
            <a:pPr lvl="0"/>
            <a:r>
              <a:rPr lang="en-US" smtClean="0"/>
              <a:t>Edit Master text styles</a:t>
            </a:r>
          </a:p>
        </p:txBody>
      </p:sp>
      <p:sp>
        <p:nvSpPr>
          <p:cNvPr id="5" name="Date Placeholder 4"/>
          <p:cNvSpPr>
            <a:spLocks noGrp="1"/>
          </p:cNvSpPr>
          <p:nvPr>
            <p:ph type="dt" sz="half" idx="10"/>
          </p:nvPr>
        </p:nvSpPr>
        <p:spPr/>
        <p:txBody>
          <a:bodyPr/>
          <a:lstStyle/>
          <a:p>
            <a:fld id="{4067C5CB-1A1E-4B81-963B-B80D6A0BE479}" type="datetime1">
              <a:rPr lang="en-US" smtClean="0">
                <a:solidFill>
                  <a:prstClr val="black">
                    <a:tint val="75000"/>
                  </a:prstClr>
                </a:solidFill>
              </a:rPr>
              <a:pPr/>
              <a:t>10/10/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30072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8331564-6CD1-40AC-9977-1F6C3C573AD0}" type="datetime1">
              <a:rPr lang="en-US" smtClean="0">
                <a:solidFill>
                  <a:prstClr val="black">
                    <a:tint val="75000"/>
                  </a:prstClr>
                </a:solidFill>
              </a:rPr>
              <a:p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8456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6"/>
            <a:ext cx="1971675" cy="581183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1" y="365126"/>
            <a:ext cx="5800725" cy="5811839"/>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C0FE538-6C7E-41A5-AAD1-BE612ECCA65B}" type="datetime1">
              <a:rPr lang="en-US" smtClean="0">
                <a:solidFill>
                  <a:prstClr val="black">
                    <a:tint val="75000"/>
                  </a:prstClr>
                </a:solidFill>
              </a:rPr>
              <a:pPr/>
              <a:t>10/10/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579395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940EA339-539B-4F2D-B06E-531BD5EB0999}" type="datetime1">
              <a:rPr lang="en-US" smtClean="0"/>
              <a:t>10/10/2018</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3980334520"/>
      </p:ext>
    </p:extLst>
  </p:cSld>
  <p:clrMapOvr>
    <a:masterClrMapping/>
  </p:clrMapOvr>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940EA339-539B-4F2D-B06E-531BD5EB0999}" type="datetime1">
              <a:rPr lang="en-US" smtClean="0"/>
              <a:t>10/10/2018</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2845718961"/>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1800" b="1"/>
            </a:lvl1pPr>
            <a:lvl2pPr marL="342900" indent="0">
              <a:buNone/>
              <a:defRPr sz="1500" b="1"/>
            </a:lvl2pPr>
            <a:lvl3pPr marL="685800" indent="0">
              <a:buNone/>
              <a:defRPr sz="140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2248BE1-B0A4-4D31-9238-C301F1EF7C2E}" type="datetime1">
              <a:rPr lang="en-US" smtClean="0"/>
              <a:t>10/10/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39775937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940EA339-539B-4F2D-B06E-531BD5EB0999}" type="datetime1">
              <a:rPr lang="en-US" smtClean="0"/>
              <a:t>10/10/2018</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2903415122"/>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940EA339-539B-4F2D-B06E-531BD5EB0999}" type="datetime1">
              <a:rPr lang="en-US" smtClean="0"/>
              <a:t>10/10/2018</a:t>
            </a:fld>
            <a:endParaRPr lang="en-US"/>
          </a:p>
        </p:txBody>
      </p:sp>
      <p:sp>
        <p:nvSpPr>
          <p:cNvPr id="6" name="Нижний колонтитул 5"/>
          <p:cNvSpPr>
            <a:spLocks noGrp="1"/>
          </p:cNvSpPr>
          <p:nvPr>
            <p:ph type="ftr" sz="quarter" idx="11"/>
          </p:nvPr>
        </p:nvSpPr>
        <p:spPr/>
        <p:txBody>
          <a:bodyPr/>
          <a:lstStyle/>
          <a:p>
            <a:endParaRPr lang="en-US"/>
          </a:p>
        </p:txBody>
      </p:sp>
      <p:sp>
        <p:nvSpPr>
          <p:cNvPr id="7" name="Номер слайда 6"/>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3397312314"/>
      </p:ext>
    </p:extLst>
  </p:cSld>
  <p:clrMapOvr>
    <a:masterClrMapping/>
  </p:clrMapOvr>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940EA339-539B-4F2D-B06E-531BD5EB0999}" type="datetime1">
              <a:rPr lang="en-US" smtClean="0"/>
              <a:t>10/10/2018</a:t>
            </a:fld>
            <a:endParaRPr lang="en-US"/>
          </a:p>
        </p:txBody>
      </p:sp>
      <p:sp>
        <p:nvSpPr>
          <p:cNvPr id="8" name="Нижний колонтитул 7"/>
          <p:cNvSpPr>
            <a:spLocks noGrp="1"/>
          </p:cNvSpPr>
          <p:nvPr>
            <p:ph type="ftr" sz="quarter" idx="11"/>
          </p:nvPr>
        </p:nvSpPr>
        <p:spPr/>
        <p:txBody>
          <a:bodyPr/>
          <a:lstStyle/>
          <a:p>
            <a:endParaRPr lang="en-US"/>
          </a:p>
        </p:txBody>
      </p:sp>
      <p:sp>
        <p:nvSpPr>
          <p:cNvPr id="9" name="Номер слайда 8"/>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1231111730"/>
      </p:ext>
    </p:extLst>
  </p:cSld>
  <p:clrMapOvr>
    <a:masterClrMapping/>
  </p:clrMapOvr>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940EA339-539B-4F2D-B06E-531BD5EB0999}" type="datetime1">
              <a:rPr lang="en-US" smtClean="0"/>
              <a:t>10/10/2018</a:t>
            </a:fld>
            <a:endParaRPr lang="en-US"/>
          </a:p>
        </p:txBody>
      </p:sp>
      <p:sp>
        <p:nvSpPr>
          <p:cNvPr id="4" name="Нижний колонтитул 3"/>
          <p:cNvSpPr>
            <a:spLocks noGrp="1"/>
          </p:cNvSpPr>
          <p:nvPr>
            <p:ph type="ftr" sz="quarter" idx="11"/>
          </p:nvPr>
        </p:nvSpPr>
        <p:spPr/>
        <p:txBody>
          <a:bodyPr/>
          <a:lstStyle/>
          <a:p>
            <a:endParaRPr lang="en-US"/>
          </a:p>
        </p:txBody>
      </p:sp>
      <p:sp>
        <p:nvSpPr>
          <p:cNvPr id="5" name="Номер слайда 4"/>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3043491687"/>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940EA339-539B-4F2D-B06E-531BD5EB0999}" type="datetime1">
              <a:rPr lang="en-US" smtClean="0"/>
              <a:t>10/10/2018</a:t>
            </a:fld>
            <a:endParaRPr lang="en-US"/>
          </a:p>
        </p:txBody>
      </p:sp>
      <p:sp>
        <p:nvSpPr>
          <p:cNvPr id="3" name="Нижний колонтитул 2"/>
          <p:cNvSpPr>
            <a:spLocks noGrp="1"/>
          </p:cNvSpPr>
          <p:nvPr>
            <p:ph type="ftr" sz="quarter" idx="11"/>
          </p:nvPr>
        </p:nvSpPr>
        <p:spPr/>
        <p:txBody>
          <a:bodyPr/>
          <a:lstStyle/>
          <a:p>
            <a:endParaRPr lang="en-US"/>
          </a:p>
        </p:txBody>
      </p:sp>
      <p:sp>
        <p:nvSpPr>
          <p:cNvPr id="4" name="Номер слайда 3"/>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1182652565"/>
      </p:ext>
    </p:extLst>
  </p:cSld>
  <p:clrMapOvr>
    <a:masterClrMapping/>
  </p:clrMapOvr>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940EA339-539B-4F2D-B06E-531BD5EB0999}" type="datetime1">
              <a:rPr lang="en-US" smtClean="0"/>
              <a:t>10/10/2018</a:t>
            </a:fld>
            <a:endParaRPr lang="en-US"/>
          </a:p>
        </p:txBody>
      </p:sp>
      <p:sp>
        <p:nvSpPr>
          <p:cNvPr id="6" name="Нижний колонтитул 5"/>
          <p:cNvSpPr>
            <a:spLocks noGrp="1"/>
          </p:cNvSpPr>
          <p:nvPr>
            <p:ph type="ftr" sz="quarter" idx="11"/>
          </p:nvPr>
        </p:nvSpPr>
        <p:spPr/>
        <p:txBody>
          <a:bodyPr/>
          <a:lstStyle/>
          <a:p>
            <a:endParaRPr lang="en-US"/>
          </a:p>
        </p:txBody>
      </p:sp>
      <p:sp>
        <p:nvSpPr>
          <p:cNvPr id="7" name="Номер слайда 6"/>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2169300856"/>
      </p:ext>
    </p:extLst>
  </p:cSld>
  <p:clrMapOvr>
    <a:masterClrMapping/>
  </p:clrMapOvr>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940EA339-539B-4F2D-B06E-531BD5EB0999}" type="datetime1">
              <a:rPr lang="en-US" smtClean="0"/>
              <a:t>10/10/2018</a:t>
            </a:fld>
            <a:endParaRPr lang="en-US"/>
          </a:p>
        </p:txBody>
      </p:sp>
      <p:sp>
        <p:nvSpPr>
          <p:cNvPr id="6" name="Нижний колонтитул 5"/>
          <p:cNvSpPr>
            <a:spLocks noGrp="1"/>
          </p:cNvSpPr>
          <p:nvPr>
            <p:ph type="ftr" sz="quarter" idx="11"/>
          </p:nvPr>
        </p:nvSpPr>
        <p:spPr/>
        <p:txBody>
          <a:bodyPr/>
          <a:lstStyle/>
          <a:p>
            <a:endParaRPr lang="en-US"/>
          </a:p>
        </p:txBody>
      </p:sp>
      <p:sp>
        <p:nvSpPr>
          <p:cNvPr id="7" name="Номер слайда 6"/>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189508409"/>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940EA339-539B-4F2D-B06E-531BD5EB0999}" type="datetime1">
              <a:rPr lang="en-US" smtClean="0"/>
              <a:t>10/10/2018</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4285714303"/>
      </p:ext>
    </p:extLst>
  </p:cSld>
  <p:clrMapOvr>
    <a:masterClrMapping/>
  </p:clrMapOvr>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940EA339-539B-4F2D-B06E-531BD5EB0999}" type="datetime1">
              <a:rPr lang="en-US" smtClean="0"/>
              <a:t>10/10/2018</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986634506"/>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7FA36A9-468B-4275-AD48-DD7BC3995730}" type="datetime1">
              <a:rPr lang="en-US" smtClean="0"/>
              <a:t>10/10/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827596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D671517-003F-4AD0-AAE7-1A027F828C57}" type="datetime1">
              <a:rPr lang="en-US" smtClean="0"/>
              <a:t>10/10/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2108849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100"/>
            </a:lvl2pPr>
            <a:lvl3pPr marL="685800" indent="0">
              <a:buNone/>
              <a:defRPr sz="900"/>
            </a:lvl3pPr>
            <a:lvl4pPr marL="1028700" indent="0">
              <a:buNone/>
              <a:defRPr sz="800"/>
            </a:lvl4pPr>
            <a:lvl5pPr marL="1371600" indent="0">
              <a:buNone/>
              <a:defRPr sz="800"/>
            </a:lvl5pPr>
            <a:lvl6pPr marL="1714500" indent="0">
              <a:buNone/>
              <a:defRPr sz="800"/>
            </a:lvl6pPr>
            <a:lvl7pPr marL="2057400" indent="0">
              <a:buNone/>
              <a:defRPr sz="800"/>
            </a:lvl7pPr>
            <a:lvl8pPr marL="2400300" indent="0">
              <a:buNone/>
              <a:defRPr sz="800"/>
            </a:lvl8pPr>
            <a:lvl9pPr marL="2743200" indent="0">
              <a:buNone/>
              <a:defRPr sz="800"/>
            </a:lvl9pPr>
          </a:lstStyle>
          <a:p>
            <a:pPr lvl="0"/>
            <a:r>
              <a:rPr lang="en-US" smtClean="0"/>
              <a:t>Edit Master text styles</a:t>
            </a:r>
          </a:p>
        </p:txBody>
      </p:sp>
      <p:sp>
        <p:nvSpPr>
          <p:cNvPr id="5" name="Date Placeholder 4"/>
          <p:cNvSpPr>
            <a:spLocks noGrp="1"/>
          </p:cNvSpPr>
          <p:nvPr>
            <p:ph type="dt" sz="half" idx="10"/>
          </p:nvPr>
        </p:nvSpPr>
        <p:spPr/>
        <p:txBody>
          <a:bodyPr/>
          <a:lstStyle/>
          <a:p>
            <a:fld id="{509940FA-A5A0-43FA-AB03-C5D7D891268E}" type="datetime1">
              <a:rPr lang="en-US" smtClean="0"/>
              <a:t>10/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18799175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100"/>
            </a:lvl2pPr>
            <a:lvl3pPr marL="685800" indent="0">
              <a:buNone/>
              <a:defRPr sz="900"/>
            </a:lvl3pPr>
            <a:lvl4pPr marL="1028700" indent="0">
              <a:buNone/>
              <a:defRPr sz="800"/>
            </a:lvl4pPr>
            <a:lvl5pPr marL="1371600" indent="0">
              <a:buNone/>
              <a:defRPr sz="800"/>
            </a:lvl5pPr>
            <a:lvl6pPr marL="1714500" indent="0">
              <a:buNone/>
              <a:defRPr sz="800"/>
            </a:lvl6pPr>
            <a:lvl7pPr marL="2057400" indent="0">
              <a:buNone/>
              <a:defRPr sz="800"/>
            </a:lvl7pPr>
            <a:lvl8pPr marL="2400300" indent="0">
              <a:buNone/>
              <a:defRPr sz="800"/>
            </a:lvl8pPr>
            <a:lvl9pPr marL="2743200" indent="0">
              <a:buNone/>
              <a:defRPr sz="800"/>
            </a:lvl9pPr>
          </a:lstStyle>
          <a:p>
            <a:pPr lvl="0"/>
            <a:r>
              <a:rPr lang="en-US" smtClean="0"/>
              <a:t>Edit Master text styles</a:t>
            </a:r>
          </a:p>
        </p:txBody>
      </p:sp>
      <p:sp>
        <p:nvSpPr>
          <p:cNvPr id="5" name="Date Placeholder 4"/>
          <p:cNvSpPr>
            <a:spLocks noGrp="1"/>
          </p:cNvSpPr>
          <p:nvPr>
            <p:ph type="dt" sz="half" idx="10"/>
          </p:nvPr>
        </p:nvSpPr>
        <p:spPr/>
        <p:txBody>
          <a:bodyPr/>
          <a:lstStyle/>
          <a:p>
            <a:fld id="{4067C5CB-1A1E-4B81-963B-B80D6A0BE479}" type="datetime1">
              <a:rPr lang="en-US" smtClean="0"/>
              <a:t>10/10/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B7F4A50-1F8C-475C-94C6-2D50DD7E8F1E}" type="slidenum">
              <a:rPr lang="en-US" smtClean="0"/>
              <a:t>‹#›</a:t>
            </a:fld>
            <a:endParaRPr lang="en-US"/>
          </a:p>
        </p:txBody>
      </p:sp>
    </p:spTree>
    <p:extLst>
      <p:ext uri="{BB962C8B-B14F-4D97-AF65-F5344CB8AC3E}">
        <p14:creationId xmlns:p14="http://schemas.microsoft.com/office/powerpoint/2010/main" val="37703194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28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68580" tIns="34290" rIns="68580" bIns="3429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9"/>
          </a:xfrm>
          <a:prstGeom prst="rect">
            <a:avLst/>
          </a:prstGeom>
        </p:spPr>
        <p:txBody>
          <a:bodyPr vert="horz" lIns="68580" tIns="34290" rIns="68580" bIns="3429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68580" tIns="34290" rIns="68580" bIns="34290" rtlCol="0" anchor="ctr"/>
          <a:lstStyle>
            <a:lvl1pPr algn="l">
              <a:defRPr sz="900">
                <a:solidFill>
                  <a:schemeClr val="tx1">
                    <a:tint val="75000"/>
                  </a:schemeClr>
                </a:solidFill>
              </a:defRPr>
            </a:lvl1pPr>
          </a:lstStyle>
          <a:p>
            <a:fld id="{940EA339-539B-4F2D-B06E-531BD5EB0999}" type="datetime1">
              <a:rPr lang="en-US" smtClean="0"/>
              <a:t>10/10/2018</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68580" tIns="34290" rIns="68580" bIns="3429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68580" tIns="34290" rIns="68580" bIns="34290" rtlCol="0" anchor="ctr"/>
          <a:lstStyle>
            <a:lvl1pPr algn="r">
              <a:defRPr sz="900">
                <a:solidFill>
                  <a:schemeClr val="tx1">
                    <a:tint val="75000"/>
                  </a:schemeClr>
                </a:solidFill>
              </a:defRPr>
            </a:lvl1pPr>
          </a:lstStyle>
          <a:p>
            <a:fld id="{5B7F4A50-1F8C-475C-94C6-2D50DD7E8F1E}" type="slidenum">
              <a:rPr lang="en-US" smtClean="0"/>
              <a:t>‹#›</a:t>
            </a:fld>
            <a:endParaRPr lang="en-US"/>
          </a:p>
        </p:txBody>
      </p:sp>
    </p:spTree>
    <p:extLst>
      <p:ext uri="{BB962C8B-B14F-4D97-AF65-F5344CB8AC3E}">
        <p14:creationId xmlns:p14="http://schemas.microsoft.com/office/powerpoint/2010/main" val="16126333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tx1">
                <a:lumMod val="95000"/>
                <a:lumOff val="5000"/>
              </a:schemeClr>
            </a:gs>
            <a:gs pos="82000">
              <a:schemeClr val="tx1">
                <a:lumMod val="85000"/>
                <a:lumOff val="15000"/>
              </a:schemeClr>
            </a:gs>
            <a:gs pos="99167">
              <a:schemeClr val="tx1">
                <a:lumMod val="95000"/>
                <a:lumOff val="5000"/>
              </a:schemeClr>
            </a:gs>
          </a:gsLst>
          <a:lin ang="5400000" scaled="0"/>
          <a:tileRect/>
        </a:gradFill>
        <a:effectLst/>
      </p:bgPr>
    </p:bg>
    <p:spTree>
      <p:nvGrpSpPr>
        <p:cNvPr id="1" name=""/>
        <p:cNvGrpSpPr/>
        <p:nvPr/>
      </p:nvGrpSpPr>
      <p:grpSpPr>
        <a:xfrm>
          <a:off x="0" y="0"/>
          <a:ext cx="0" cy="0"/>
          <a:chOff x="0" y="0"/>
          <a:chExt cx="0" cy="0"/>
        </a:xfrm>
      </p:grpSpPr>
      <p:sp>
        <p:nvSpPr>
          <p:cNvPr id="10" name="Rectangle 9"/>
          <p:cNvSpPr/>
          <p:nvPr/>
        </p:nvSpPr>
        <p:spPr>
          <a:xfrm>
            <a:off x="5867400" y="3835400"/>
            <a:ext cx="9525000" cy="70104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rtlCol="0" anchor="ctr"/>
          <a:lstStyle/>
          <a:p>
            <a:pPr algn="ctr" defTabSz="914333"/>
            <a:endParaRPr lang="en-US" sz="1800">
              <a:solidFill>
                <a:prstClr val="white"/>
              </a:solidFill>
            </a:endParaRPr>
          </a:p>
        </p:txBody>
      </p:sp>
      <p:sp>
        <p:nvSpPr>
          <p:cNvPr id="4" name="Date Placeholder 3"/>
          <p:cNvSpPr>
            <a:spLocks noGrp="1"/>
          </p:cNvSpPr>
          <p:nvPr>
            <p:ph type="dt" sz="half" idx="2"/>
          </p:nvPr>
        </p:nvSpPr>
        <p:spPr>
          <a:xfrm>
            <a:off x="457200" y="6356352"/>
            <a:ext cx="2133600" cy="365125"/>
          </a:xfrm>
          <a:prstGeom prst="rect">
            <a:avLst/>
          </a:prstGeom>
        </p:spPr>
        <p:txBody>
          <a:bodyPr vert="horz" lIns="91434" tIns="45717" rIns="91434" bIns="45717" rtlCol="0" anchor="ctr"/>
          <a:lstStyle>
            <a:lvl1pPr algn="l">
              <a:defRPr sz="1200">
                <a:solidFill>
                  <a:schemeClr val="tx1">
                    <a:tint val="75000"/>
                  </a:schemeClr>
                </a:solidFill>
              </a:defRPr>
            </a:lvl1pPr>
          </a:lstStyle>
          <a:p>
            <a:pPr defTabSz="914333"/>
            <a:fld id="{D675BA84-70E1-4D34-8C53-52021ACEB706}" type="datetime1">
              <a:rPr lang="en-US" smtClean="0">
                <a:solidFill>
                  <a:prstClr val="black">
                    <a:tint val="75000"/>
                  </a:prstClr>
                </a:solidFill>
              </a:rPr>
              <a:t>10/10/2018</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34" tIns="45717" rIns="91434" bIns="45717" rtlCol="0" anchor="ctr"/>
          <a:lstStyle>
            <a:lvl1pPr algn="ctr">
              <a:defRPr sz="1200">
                <a:solidFill>
                  <a:schemeClr val="tx1">
                    <a:tint val="75000"/>
                  </a:schemeClr>
                </a:solidFill>
              </a:defRPr>
            </a:lvl1pPr>
          </a:lstStyle>
          <a:p>
            <a:pPr defTabSz="914333"/>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34" tIns="45717" rIns="91434" bIns="45717" rtlCol="0" anchor="ctr"/>
          <a:lstStyle>
            <a:lvl1pPr algn="r">
              <a:defRPr sz="1200">
                <a:solidFill>
                  <a:schemeClr val="tx1">
                    <a:tint val="75000"/>
                  </a:schemeClr>
                </a:solidFill>
              </a:defRPr>
            </a:lvl1pPr>
          </a:lstStyle>
          <a:p>
            <a:pPr defTabSz="914333"/>
            <a:fld id="{FD99AA8B-2E7A-4BBC-8FDE-CA7CF71DD330}" type="slidenum">
              <a:rPr lang="en-US" smtClean="0">
                <a:solidFill>
                  <a:prstClr val="black">
                    <a:tint val="75000"/>
                  </a:prstClr>
                </a:solidFill>
              </a:rPr>
              <a:pPr defTabSz="914333"/>
              <a:t>‹#›</a:t>
            </a:fld>
            <a:endParaRPr lang="en-US">
              <a:solidFill>
                <a:prstClr val="black">
                  <a:tint val="75000"/>
                </a:prstClr>
              </a:solidFill>
            </a:endParaRPr>
          </a:p>
        </p:txBody>
      </p:sp>
      <p:sp>
        <p:nvSpPr>
          <p:cNvPr id="3" name="Text Placeholder 2"/>
          <p:cNvSpPr>
            <a:spLocks noGrp="1"/>
          </p:cNvSpPr>
          <p:nvPr>
            <p:ph type="body" idx="1"/>
          </p:nvPr>
        </p:nvSpPr>
        <p:spPr>
          <a:xfrm>
            <a:off x="3124200" y="990600"/>
            <a:ext cx="5638800" cy="5181600"/>
          </a:xfrm>
          <a:prstGeom prst="rect">
            <a:avLst/>
          </a:prstGeom>
        </p:spPr>
        <p:txBody>
          <a:bodyPr vert="horz" lIns="91434" tIns="45717" rIns="91434" bIns="45717"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Placeholder 1"/>
          <p:cNvSpPr>
            <a:spLocks noGrp="1"/>
          </p:cNvSpPr>
          <p:nvPr>
            <p:ph type="title"/>
          </p:nvPr>
        </p:nvSpPr>
        <p:spPr>
          <a:xfrm>
            <a:off x="2209801" y="177804"/>
            <a:ext cx="6553202" cy="525463"/>
          </a:xfrm>
          <a:prstGeom prst="rect">
            <a:avLst/>
          </a:prstGeom>
        </p:spPr>
        <p:txBody>
          <a:bodyPr vert="horz" lIns="91434" tIns="45717" rIns="91434" bIns="45717" rtlCol="0" anchor="b">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84018424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Lst>
  <p:timing>
    <p:tnLst>
      <p:par>
        <p:cTn id="1" dur="indefinite" restart="never" nodeType="tmRoot"/>
      </p:par>
    </p:tnLst>
  </p:timing>
  <p:hf hdr="0" dt="0"/>
  <p:txStyles>
    <p:titleStyle>
      <a:lvl1pPr algn="r" defTabSz="914333" rtl="0" eaLnBrk="1" latinLnBrk="0" hangingPunct="1">
        <a:spcBef>
          <a:spcPct val="0"/>
        </a:spcBef>
        <a:buNone/>
        <a:defRPr sz="2800" kern="1200">
          <a:solidFill>
            <a:schemeClr val="bg1">
              <a:lumMod val="95000"/>
            </a:schemeClr>
          </a:solidFill>
          <a:latin typeface="+mj-lt"/>
          <a:ea typeface="+mj-ea"/>
          <a:cs typeface="+mj-cs"/>
        </a:defRPr>
      </a:lvl1pPr>
    </p:titleStyle>
    <p:bodyStyle>
      <a:lvl1pPr marL="0" indent="0" algn="l" defTabSz="914333" rtl="0" eaLnBrk="1" latinLnBrk="0" hangingPunct="1">
        <a:spcBef>
          <a:spcPct val="20000"/>
        </a:spcBef>
        <a:buFontTx/>
        <a:buNone/>
        <a:defRPr sz="2400" kern="1200">
          <a:solidFill>
            <a:schemeClr val="bg1">
              <a:lumMod val="10000"/>
            </a:schemeClr>
          </a:solidFill>
          <a:latin typeface="+mn-lt"/>
          <a:ea typeface="+mn-ea"/>
          <a:cs typeface="+mn-cs"/>
        </a:defRPr>
      </a:lvl1pPr>
      <a:lvl2pPr marL="0" indent="0" algn="l" defTabSz="914333" rtl="0" eaLnBrk="1" latinLnBrk="0" hangingPunct="1">
        <a:spcBef>
          <a:spcPct val="20000"/>
        </a:spcBef>
        <a:buFontTx/>
        <a:buNone/>
        <a:defRPr sz="2400" kern="1200">
          <a:solidFill>
            <a:schemeClr val="bg1">
              <a:lumMod val="10000"/>
            </a:schemeClr>
          </a:solidFill>
          <a:latin typeface="+mn-lt"/>
          <a:ea typeface="+mn-ea"/>
          <a:cs typeface="+mn-cs"/>
        </a:defRPr>
      </a:lvl2pPr>
      <a:lvl3pPr marL="0" indent="0" algn="l" defTabSz="914333" rtl="0" eaLnBrk="1" latinLnBrk="0" hangingPunct="1">
        <a:spcBef>
          <a:spcPct val="20000"/>
        </a:spcBef>
        <a:buFontTx/>
        <a:buNone/>
        <a:defRPr sz="2400" kern="1200">
          <a:solidFill>
            <a:schemeClr val="bg1">
              <a:lumMod val="10000"/>
            </a:schemeClr>
          </a:solidFill>
          <a:latin typeface="+mn-lt"/>
          <a:ea typeface="+mn-ea"/>
          <a:cs typeface="+mn-cs"/>
        </a:defRPr>
      </a:lvl3pPr>
      <a:lvl4pPr marL="0" indent="0" algn="l" defTabSz="914333" rtl="0" eaLnBrk="1" latinLnBrk="0" hangingPunct="1">
        <a:spcBef>
          <a:spcPct val="20000"/>
        </a:spcBef>
        <a:buFontTx/>
        <a:buNone/>
        <a:defRPr sz="2400" kern="1200">
          <a:solidFill>
            <a:schemeClr val="bg1">
              <a:lumMod val="10000"/>
            </a:schemeClr>
          </a:solidFill>
          <a:latin typeface="+mn-lt"/>
          <a:ea typeface="+mn-ea"/>
          <a:cs typeface="+mn-cs"/>
        </a:defRPr>
      </a:lvl4pPr>
      <a:lvl5pPr marL="0" indent="0" algn="l" defTabSz="914333" rtl="0" eaLnBrk="1" latinLnBrk="0" hangingPunct="1">
        <a:spcBef>
          <a:spcPct val="20000"/>
        </a:spcBef>
        <a:buFontTx/>
        <a:buNone/>
        <a:defRPr sz="2400" kern="1200">
          <a:solidFill>
            <a:schemeClr val="bg1">
              <a:lumMod val="10000"/>
            </a:schemeClr>
          </a:solidFill>
          <a:latin typeface="+mn-lt"/>
          <a:ea typeface="+mn-ea"/>
          <a:cs typeface="+mn-cs"/>
        </a:defRPr>
      </a:lvl5pPr>
      <a:lvl6pPr marL="2514411"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8"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44"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09"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8" algn="l" defTabSz="914333" rtl="0" eaLnBrk="1" latinLnBrk="0" hangingPunct="1">
        <a:defRPr sz="1800" kern="1200">
          <a:solidFill>
            <a:schemeClr val="tx1"/>
          </a:solidFill>
          <a:latin typeface="+mn-lt"/>
          <a:ea typeface="+mn-ea"/>
          <a:cs typeface="+mn-cs"/>
        </a:defRPr>
      </a:lvl4pPr>
      <a:lvl5pPr marL="1828664" algn="l" defTabSz="914333" rtl="0" eaLnBrk="1" latinLnBrk="0" hangingPunct="1">
        <a:defRPr sz="1800" kern="1200">
          <a:solidFill>
            <a:schemeClr val="tx1"/>
          </a:solidFill>
          <a:latin typeface="+mn-lt"/>
          <a:ea typeface="+mn-ea"/>
          <a:cs typeface="+mn-cs"/>
        </a:defRPr>
      </a:lvl5pPr>
      <a:lvl6pPr marL="2285829" algn="l" defTabSz="914333" rtl="0" eaLnBrk="1" latinLnBrk="0" hangingPunct="1">
        <a:defRPr sz="1800" kern="1200">
          <a:solidFill>
            <a:schemeClr val="tx1"/>
          </a:solidFill>
          <a:latin typeface="+mn-lt"/>
          <a:ea typeface="+mn-ea"/>
          <a:cs typeface="+mn-cs"/>
        </a:defRPr>
      </a:lvl6pPr>
      <a:lvl7pPr marL="2742995" algn="l" defTabSz="914333" rtl="0" eaLnBrk="1" latinLnBrk="0" hangingPunct="1">
        <a:defRPr sz="1800" kern="1200">
          <a:solidFill>
            <a:schemeClr val="tx1"/>
          </a:solidFill>
          <a:latin typeface="+mn-lt"/>
          <a:ea typeface="+mn-ea"/>
          <a:cs typeface="+mn-cs"/>
        </a:defRPr>
      </a:lvl7pPr>
      <a:lvl8pPr marL="3200160" algn="l" defTabSz="914333" rtl="0" eaLnBrk="1" latinLnBrk="0" hangingPunct="1">
        <a:defRPr sz="1800" kern="1200">
          <a:solidFill>
            <a:schemeClr val="tx1"/>
          </a:solidFill>
          <a:latin typeface="+mn-lt"/>
          <a:ea typeface="+mn-ea"/>
          <a:cs typeface="+mn-cs"/>
        </a:defRPr>
      </a:lvl8pPr>
      <a:lvl9pPr marL="3657326" algn="l" defTabSz="91433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flip="none" rotWithShape="1">
          <a:gsLst>
            <a:gs pos="28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68580" tIns="34290" rIns="68580" bIns="3429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9"/>
          </a:xfrm>
          <a:prstGeom prst="rect">
            <a:avLst/>
          </a:prstGeom>
        </p:spPr>
        <p:txBody>
          <a:bodyPr vert="horz" lIns="68580" tIns="34290" rIns="68580" bIns="3429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68580" tIns="34290" rIns="68580" bIns="34290" rtlCol="0" anchor="ctr"/>
          <a:lstStyle>
            <a:lvl1pPr algn="l">
              <a:defRPr sz="900">
                <a:solidFill>
                  <a:schemeClr val="tx1">
                    <a:tint val="75000"/>
                  </a:schemeClr>
                </a:solidFill>
              </a:defRPr>
            </a:lvl1pPr>
          </a:lstStyle>
          <a:p>
            <a:fld id="{940EA339-539B-4F2D-B06E-531BD5EB0999}" type="datetime1">
              <a:rPr lang="en-US" smtClean="0">
                <a:solidFill>
                  <a:prstClr val="black">
                    <a:tint val="75000"/>
                  </a:prstClr>
                </a:solidFill>
              </a:rPr>
              <a:pPr/>
              <a:t>10/10/2018</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68580" tIns="34290" rIns="68580" bIns="3429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68580" tIns="34290" rIns="68580" bIns="34290" rtlCol="0" anchor="ctr"/>
          <a:lstStyle>
            <a:lvl1pPr algn="r">
              <a:defRPr sz="900">
                <a:solidFill>
                  <a:schemeClr val="tx1">
                    <a:tint val="75000"/>
                  </a:schemeClr>
                </a:solidFill>
              </a:defRPr>
            </a:lvl1pPr>
          </a:lstStyle>
          <a:p>
            <a:fld id="{5B7F4A50-1F8C-475C-94C6-2D50DD7E8F1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849200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0EA339-539B-4F2D-B06E-531BD5EB0999}" type="datetime1">
              <a:rPr lang="en-US" smtClean="0"/>
              <a:t>10/10/2018</a:t>
            </a:fld>
            <a:endParaRPr lang="en-US"/>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7F4A50-1F8C-475C-94C6-2D50DD7E8F1E}" type="slidenum">
              <a:rPr lang="en-US" smtClean="0"/>
              <a:t>‹#›</a:t>
            </a:fld>
            <a:endParaRPr lang="en-US"/>
          </a:p>
        </p:txBody>
      </p:sp>
    </p:spTree>
    <p:extLst>
      <p:ext uri="{BB962C8B-B14F-4D97-AF65-F5344CB8AC3E}">
        <p14:creationId xmlns:p14="http://schemas.microsoft.com/office/powerpoint/2010/main" val="34608222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hemeOverride" Target="../theme/themeOverride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8" Type="http://schemas.microsoft.com/office/2007/relationships/hdphoto" Target="../media/hdphoto5.wdp"/><Relationship Id="rId3" Type="http://schemas.microsoft.com/office/2007/relationships/hdphoto" Target="../media/hdphoto3.wdp"/><Relationship Id="rId7"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Layout" Target="../slideLayouts/slideLayout49.xml"/><Relationship Id="rId6" Type="http://schemas.microsoft.com/office/2007/relationships/hdphoto" Target="../media/hdphoto4.wdp"/><Relationship Id="rId5" Type="http://schemas.openxmlformats.org/officeDocument/2006/relationships/image" Target="../media/image10.pn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4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jpeg"/></Relationships>
</file>

<file path=ppt/slides/_rels/slide1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6"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6.xml"/><Relationship Id="rId7" Type="http://schemas.openxmlformats.org/officeDocument/2006/relationships/chart" Target="../charts/char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3.xml"/><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png"/><Relationship Id="rId5" Type="http://schemas.microsoft.com/office/2007/relationships/hdphoto" Target="../media/hdphoto2.wdp"/><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lumMod val="0"/>
                <a:lumOff val="100000"/>
                <a:alpha val="33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7" name="Прямоугольник 66"/>
          <p:cNvSpPr/>
          <p:nvPr/>
        </p:nvSpPr>
        <p:spPr>
          <a:xfrm>
            <a:off x="1475504" y="52071"/>
            <a:ext cx="7533324" cy="723275"/>
          </a:xfrm>
          <a:prstGeom prst="rect">
            <a:avLst/>
          </a:prstGeom>
          <a:solidFill>
            <a:srgbClr val="0070C0"/>
          </a:solidFill>
          <a:effectLst/>
        </p:spPr>
        <p:txBody>
          <a:bodyPr wrap="square" lIns="91440" tIns="45720" rIns="91440" bIns="45720">
            <a:spAutoFit/>
          </a:bodyPr>
          <a:lstStyle/>
          <a:p>
            <a:pPr algn="ctr"/>
            <a:endParaRPr lang="kk-KZ" sz="500" b="1" cap="none" spc="0" dirty="0" smtClean="0">
              <a:ln w="0"/>
              <a:solidFill>
                <a:schemeClr val="bg1"/>
              </a:solidFill>
              <a:latin typeface="Arial Narrow" pitchFamily="34" charset="0"/>
              <a:cs typeface="Arial" panose="020B0604020202020204" pitchFamily="34" charset="0"/>
            </a:endParaRPr>
          </a:p>
          <a:p>
            <a:pPr algn="ctr"/>
            <a:r>
              <a:rPr lang="kk-KZ" sz="1800" b="1" cap="none" spc="0" dirty="0" smtClean="0">
                <a:ln w="0"/>
                <a:solidFill>
                  <a:schemeClr val="bg1"/>
                </a:solidFill>
                <a:latin typeface="Arial" pitchFamily="34" charset="0"/>
                <a:cs typeface="Arial" pitchFamily="34" charset="0"/>
              </a:rPr>
              <a:t>ҚАЗАҚСТАН РЕСПУБЛИКАСЫНЫҢ ИНВЕСТИЦИЯЛАР ЖӘНЕ ДАМУ МИНИСТРЛІГІ</a:t>
            </a:r>
            <a:r>
              <a:rPr lang="kk-KZ" sz="800" b="1" cap="none" spc="0" dirty="0" smtClean="0">
                <a:ln w="0"/>
                <a:solidFill>
                  <a:schemeClr val="bg1"/>
                </a:solidFill>
                <a:latin typeface="Arial Narrow" pitchFamily="34" charset="0"/>
                <a:cs typeface="Arial" panose="020B0604020202020204" pitchFamily="34" charset="0"/>
              </a:rPr>
              <a:t> </a:t>
            </a:r>
            <a:endParaRPr lang="ru-RU" sz="800" b="1" cap="none" spc="0" dirty="0">
              <a:ln w="0"/>
              <a:solidFill>
                <a:schemeClr val="bg1"/>
              </a:solidFill>
              <a:latin typeface="Arial Narrow" pitchFamily="34" charset="0"/>
              <a:cs typeface="Arial" panose="020B0604020202020204" pitchFamily="34" charset="0"/>
            </a:endParaRPr>
          </a:p>
        </p:txBody>
      </p:sp>
      <p:sp>
        <p:nvSpPr>
          <p:cNvPr id="6" name="TextBox 5"/>
          <p:cNvSpPr txBox="1"/>
          <p:nvPr/>
        </p:nvSpPr>
        <p:spPr>
          <a:xfrm>
            <a:off x="611939" y="2487676"/>
            <a:ext cx="8056345" cy="1982081"/>
          </a:xfrm>
          <a:prstGeom prst="rect">
            <a:avLst/>
          </a:prstGeom>
          <a:noFill/>
          <a:effectLst/>
        </p:spPr>
        <p:txBody>
          <a:bodyPr wrap="square" rtlCol="0">
            <a:spAutoFit/>
          </a:bodyPr>
          <a:lstStyle/>
          <a:p>
            <a:pPr algn="ctr"/>
            <a:r>
              <a:rPr lang="kk-KZ" sz="2000" b="1" dirty="0">
                <a:solidFill>
                  <a:srgbClr val="002060"/>
                </a:solidFill>
                <a:latin typeface="Arial" panose="020B0604020202020204" pitchFamily="34" charset="0"/>
                <a:cs typeface="Arial" panose="020B0604020202020204" pitchFamily="34" charset="0"/>
              </a:rPr>
              <a:t>«ҚАЗАҚСТАН РЕСПУБЛИКАСЫНЫҢ КЕЙБІР ЗАҢНАМАЛЫҚ АКТІЛЕРІНЕ ТҰРҒЫН ҮЙ-КОММУНАЛДЫҚ ШАРУАШЫЛЫҚ МӘСЕЛЕЛЕРІ БОЙЫНША ӨЗГЕРІСТЕР МЕН ТОЛЫҚТЫРУЛАР ЕНГІЗУ </a:t>
            </a:r>
            <a:r>
              <a:rPr lang="kk-KZ" sz="2000" b="1" dirty="0" smtClean="0">
                <a:solidFill>
                  <a:srgbClr val="002060"/>
                </a:solidFill>
                <a:latin typeface="Arial" panose="020B0604020202020204" pitchFamily="34" charset="0"/>
                <a:cs typeface="Arial" panose="020B0604020202020204" pitchFamily="34" charset="0"/>
              </a:rPr>
              <a:t>ТУРАЛЫ»</a:t>
            </a:r>
          </a:p>
          <a:p>
            <a:pPr algn="ctr"/>
            <a:r>
              <a:rPr lang="kk-KZ" sz="2000" b="1" dirty="0" smtClean="0">
                <a:solidFill>
                  <a:srgbClr val="002060"/>
                </a:solidFill>
                <a:latin typeface="Arial" panose="020B0604020202020204" pitchFamily="34" charset="0"/>
                <a:cs typeface="Arial" panose="020B0604020202020204" pitchFamily="34" charset="0"/>
              </a:rPr>
              <a:t>ҚАЗАҚСТАН </a:t>
            </a:r>
            <a:r>
              <a:rPr lang="kk-KZ" sz="2000" b="1" dirty="0">
                <a:solidFill>
                  <a:srgbClr val="002060"/>
                </a:solidFill>
                <a:latin typeface="Arial" panose="020B0604020202020204" pitchFamily="34" charset="0"/>
                <a:cs typeface="Arial" panose="020B0604020202020204" pitchFamily="34" charset="0"/>
              </a:rPr>
              <a:t>РЕСПУБЛИКАСЫНЫҢ </a:t>
            </a:r>
            <a:r>
              <a:rPr lang="kk-KZ" sz="2000" b="1" dirty="0" smtClean="0">
                <a:solidFill>
                  <a:srgbClr val="002060"/>
                </a:solidFill>
                <a:latin typeface="Arial" panose="020B0604020202020204" pitchFamily="34" charset="0"/>
                <a:cs typeface="Arial" panose="020B0604020202020204" pitchFamily="34" charset="0"/>
              </a:rPr>
              <a:t>ЗАҢ </a:t>
            </a:r>
            <a:r>
              <a:rPr lang="kk-KZ" sz="2000" b="1" dirty="0">
                <a:solidFill>
                  <a:srgbClr val="002060"/>
                </a:solidFill>
                <a:latin typeface="Arial" panose="020B0604020202020204" pitchFamily="34" charset="0"/>
                <a:cs typeface="Arial" panose="020B0604020202020204" pitchFamily="34" charset="0"/>
              </a:rPr>
              <a:t>ЖОБАСЫ</a:t>
            </a:r>
            <a:endParaRPr lang="ru-RU" sz="2000" dirty="0">
              <a:solidFill>
                <a:srgbClr val="002060"/>
              </a:solidFill>
              <a:latin typeface="Arial" panose="020B0604020202020204" pitchFamily="34" charset="0"/>
              <a:cs typeface="Arial" panose="020B0604020202020204" pitchFamily="34" charset="0"/>
            </a:endParaRPr>
          </a:p>
          <a:p>
            <a:pPr algn="ctr" defTabSz="914400" eaLnBrk="0" fontAlgn="base" hangingPunct="0">
              <a:lnSpc>
                <a:spcPct val="114000"/>
              </a:lnSpc>
              <a:spcBef>
                <a:spcPct val="0"/>
              </a:spcBef>
              <a:spcAft>
                <a:spcPct val="0"/>
              </a:spcAft>
              <a:tabLst>
                <a:tab pos="3319463" algn="l"/>
              </a:tabLst>
              <a:defRPr/>
            </a:pPr>
            <a:endParaRPr lang="ru-RU" sz="2000" b="1" dirty="0">
              <a:solidFill>
                <a:srgbClr val="002060"/>
              </a:solidFill>
              <a:effectLst>
                <a:outerShdw blurRad="38100" dist="38100" dir="2700000" algn="tl">
                  <a:srgbClr val="C0C0C0"/>
                </a:outerShdw>
              </a:effectLst>
              <a:latin typeface="Arial" panose="020B0604020202020204" pitchFamily="34" charset="0"/>
              <a:cs typeface="Times New Roman" panose="02020603050405020304" pitchFamily="18" charset="0"/>
            </a:endParaRPr>
          </a:p>
        </p:txBody>
      </p:sp>
      <p:sp>
        <p:nvSpPr>
          <p:cNvPr id="5" name="TextBox 4"/>
          <p:cNvSpPr txBox="1"/>
          <p:nvPr/>
        </p:nvSpPr>
        <p:spPr>
          <a:xfrm>
            <a:off x="630989" y="6238408"/>
            <a:ext cx="8056345" cy="380425"/>
          </a:xfrm>
          <a:prstGeom prst="rect">
            <a:avLst/>
          </a:prstGeom>
          <a:noFill/>
          <a:effectLst/>
        </p:spPr>
        <p:txBody>
          <a:bodyPr wrap="square" rtlCol="0">
            <a:spAutoFit/>
          </a:bodyPr>
          <a:lstStyle/>
          <a:p>
            <a:pPr algn="ctr">
              <a:lnSpc>
                <a:spcPct val="150000"/>
              </a:lnSpc>
            </a:pPr>
            <a:r>
              <a:rPr lang="kk-KZ" dirty="0" smtClean="0">
                <a:solidFill>
                  <a:schemeClr val="accent5">
                    <a:lumMod val="50000"/>
                  </a:schemeClr>
                </a:solidFill>
                <a:latin typeface="Arial Narrow" pitchFamily="34" charset="0"/>
                <a:cs typeface="Arial" panose="020B0604020202020204" pitchFamily="34" charset="0"/>
              </a:rPr>
              <a:t>Астана қ., 2018 ж.</a:t>
            </a:r>
            <a:endParaRPr lang="kk-KZ" b="1" dirty="0">
              <a:solidFill>
                <a:schemeClr val="accent5">
                  <a:lumMod val="50000"/>
                </a:schemeClr>
              </a:solidFill>
              <a:latin typeface="Arial Narrow" pitchFamily="34" charset="0"/>
              <a:cs typeface="Arial" panose="020B0604020202020204" pitchFamily="34" charset="0"/>
            </a:endParaRPr>
          </a:p>
        </p:txBody>
      </p:sp>
      <p:pic>
        <p:nvPicPr>
          <p:cNvPr id="7" name="Рисунок 6" descr="Gerb.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7369" y="38671"/>
            <a:ext cx="1062275" cy="90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07923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a:xfrm>
            <a:off x="8686800" y="6384136"/>
            <a:ext cx="298690" cy="365125"/>
          </a:xfrm>
          <a:effectLst>
            <a:innerShdw blurRad="63500" dist="50800" dir="8100000">
              <a:prstClr val="black">
                <a:alpha val="50000"/>
              </a:prstClr>
            </a:innerShdw>
          </a:effectLst>
        </p:spPr>
        <p:txBody>
          <a:bodyPr/>
          <a:lstStyle/>
          <a:p>
            <a:r>
              <a:rPr lang="kk-KZ" dirty="0" smtClean="0">
                <a:solidFill>
                  <a:schemeClr val="tx1"/>
                </a:solidFill>
                <a:latin typeface="Arial Narrow" pitchFamily="34" charset="0"/>
              </a:rPr>
              <a:t>10</a:t>
            </a:r>
            <a:endParaRPr lang="en-US" dirty="0">
              <a:solidFill>
                <a:schemeClr val="tx1"/>
              </a:solidFill>
              <a:latin typeface="Arial Narrow" pitchFamily="34" charset="0"/>
            </a:endParaRPr>
          </a:p>
        </p:txBody>
      </p:sp>
      <p:sp>
        <p:nvSpPr>
          <p:cNvPr id="11" name="Прямоугольник 10"/>
          <p:cNvSpPr/>
          <p:nvPr/>
        </p:nvSpPr>
        <p:spPr>
          <a:xfrm>
            <a:off x="0" y="10391"/>
            <a:ext cx="9144000" cy="338554"/>
          </a:xfrm>
          <a:prstGeom prst="rect">
            <a:avLst/>
          </a:prstGeom>
          <a:solidFill>
            <a:srgbClr val="0070C0"/>
          </a:solidFill>
          <a:ln w="38100">
            <a:noFill/>
          </a:ln>
          <a:effectLst/>
        </p:spPr>
        <p:txBody>
          <a:bodyPr wrap="square" lIns="91440" tIns="45720" rIns="91440" bIns="45720">
            <a:spAutoFit/>
          </a:bodyPr>
          <a:lstStyle/>
          <a:p>
            <a:pPr algn="ctr"/>
            <a:r>
              <a:rPr lang="en-US" sz="1600" b="1" dirty="0" smtClean="0">
                <a:ln w="0"/>
                <a:solidFill>
                  <a:schemeClr val="bg1"/>
                </a:solidFill>
                <a:latin typeface="Arial Narrow" pitchFamily="34" charset="0"/>
              </a:rPr>
              <a:t>V – </a:t>
            </a:r>
            <a:r>
              <a:rPr lang="kk-KZ" sz="1600" b="1" dirty="0" smtClean="0">
                <a:ln w="0"/>
                <a:solidFill>
                  <a:schemeClr val="bg1"/>
                </a:solidFill>
                <a:latin typeface="Arial Narrow" pitchFamily="34" charset="0"/>
              </a:rPr>
              <a:t>ЖЕРГІЛІКТІ АТҚАРУШЫ ОРГАНДАРДЫҢ ЖАҢА ӨКІЛЕТТІКТЕРІ</a:t>
            </a:r>
            <a:endParaRPr lang="ru-RU" sz="1600" b="1" cap="none" spc="0" dirty="0">
              <a:ln w="0"/>
              <a:solidFill>
                <a:schemeClr val="bg1"/>
              </a:solidFill>
              <a:latin typeface="Arial Narrow" pitchFamily="34" charset="0"/>
            </a:endParaRPr>
          </a:p>
        </p:txBody>
      </p:sp>
      <p:graphicFrame>
        <p:nvGraphicFramePr>
          <p:cNvPr id="23" name="Схема 22"/>
          <p:cNvGraphicFramePr/>
          <p:nvPr>
            <p:extLst>
              <p:ext uri="{D42A27DB-BD31-4B8C-83A1-F6EECF244321}">
                <p14:modId xmlns:p14="http://schemas.microsoft.com/office/powerpoint/2010/main" val="3258120622"/>
              </p:ext>
            </p:extLst>
          </p:nvPr>
        </p:nvGraphicFramePr>
        <p:xfrm>
          <a:off x="-38100" y="419101"/>
          <a:ext cx="8943109" cy="60959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900012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4" descr="https://scrproperty.net/wp-content/uploads/sites/30/2014/05/buying-property-checklist.jpg"/>
          <p:cNvSpPr>
            <a:spLocks noChangeAspect="1" noChangeArrowheads="1"/>
          </p:cNvSpPr>
          <p:nvPr/>
        </p:nvSpPr>
        <p:spPr bwMode="auto">
          <a:xfrm>
            <a:off x="155575" y="-192617"/>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 name="AutoShape 6" descr="https://scrproperty.net/wp-content/uploads/sites/30/2014/05/buying-property-checklist.jpg"/>
          <p:cNvSpPr>
            <a:spLocks noChangeAspect="1" noChangeArrowheads="1"/>
          </p:cNvSpPr>
          <p:nvPr/>
        </p:nvSpPr>
        <p:spPr bwMode="auto">
          <a:xfrm>
            <a:off x="307975" y="10584"/>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 name="AutoShape 8" descr="https://scrproperty.net/wp-content/uploads/sites/30/2014/05/buying-property-checklist.jpg"/>
          <p:cNvSpPr>
            <a:spLocks noChangeAspect="1" noChangeArrowheads="1"/>
          </p:cNvSpPr>
          <p:nvPr/>
        </p:nvSpPr>
        <p:spPr bwMode="auto">
          <a:xfrm>
            <a:off x="460375" y="213784"/>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1" name="Прямоугольник 40"/>
          <p:cNvSpPr/>
          <p:nvPr/>
        </p:nvSpPr>
        <p:spPr>
          <a:xfrm>
            <a:off x="-8746" y="1765"/>
            <a:ext cx="9144000" cy="338554"/>
          </a:xfrm>
          <a:prstGeom prst="rect">
            <a:avLst/>
          </a:prstGeom>
          <a:solidFill>
            <a:srgbClr val="0070C0"/>
          </a:solidFill>
          <a:effectLst/>
        </p:spPr>
        <p:txBody>
          <a:bodyPr wrap="square" lIns="91440" tIns="45720" rIns="91440" bIns="45720">
            <a:spAutoFit/>
          </a:bodyPr>
          <a:lstStyle/>
          <a:p>
            <a:pPr algn="ctr"/>
            <a:r>
              <a:rPr lang="ru-RU" sz="1600" b="1" dirty="0" smtClean="0">
                <a:ln w="0"/>
                <a:solidFill>
                  <a:schemeClr val="bg1"/>
                </a:solidFill>
                <a:effectLst>
                  <a:outerShdw blurRad="38100" dist="19050" dir="2700000" algn="tl" rotWithShape="0">
                    <a:schemeClr val="dk1">
                      <a:alpha val="40000"/>
                    </a:schemeClr>
                  </a:outerShdw>
                </a:effectLst>
                <a:latin typeface="Arial Narrow" pitchFamily="34" charset="0"/>
              </a:rPr>
              <a:t>ЛИФТ ҚАУІПСІЗДІГІ САЛАСЫНДАҒЫ ТЕХНИКАЛЫҚ РЕТТЕУ</a:t>
            </a:r>
            <a:endParaRPr lang="ru-RU" sz="1600" b="1" dirty="0">
              <a:ln w="0"/>
              <a:solidFill>
                <a:schemeClr val="bg1"/>
              </a:solidFill>
              <a:effectLst>
                <a:outerShdw blurRad="38100" dist="19050" dir="2700000" algn="tl" rotWithShape="0">
                  <a:schemeClr val="dk1">
                    <a:alpha val="40000"/>
                  </a:schemeClr>
                </a:outerShdw>
              </a:effectLst>
              <a:latin typeface="Arial Narrow" pitchFamily="34" charset="0"/>
            </a:endParaRPr>
          </a:p>
        </p:txBody>
      </p:sp>
      <p:sp>
        <p:nvSpPr>
          <p:cNvPr id="46" name="Прямоугольник 45"/>
          <p:cNvSpPr/>
          <p:nvPr/>
        </p:nvSpPr>
        <p:spPr>
          <a:xfrm>
            <a:off x="1" y="658285"/>
            <a:ext cx="4478168" cy="314147"/>
          </a:xfrm>
          <a:prstGeom prst="rect">
            <a:avLst/>
          </a:prstGeom>
        </p:spPr>
        <p:txBody>
          <a:bodyPr wrap="square">
            <a:spAutoFit/>
          </a:bodyPr>
          <a:lstStyle/>
          <a:p>
            <a:pPr algn="ctr"/>
            <a:r>
              <a:rPr lang="ru-RU" b="1" u="sng" dirty="0" smtClean="0">
                <a:latin typeface="Arial Narrow" pitchFamily="34" charset="0"/>
                <a:cs typeface="Arial" pitchFamily="34" charset="0"/>
              </a:rPr>
              <a:t>ВЫПУСК В ОБРАЩЕНИЕ НА РЫНОК</a:t>
            </a:r>
            <a:endParaRPr lang="ru-RU" b="1" u="sng" dirty="0">
              <a:latin typeface="Arial Narrow" pitchFamily="34" charset="0"/>
              <a:cs typeface="Arial" pitchFamily="34" charset="0"/>
            </a:endParaRPr>
          </a:p>
        </p:txBody>
      </p:sp>
      <p:sp>
        <p:nvSpPr>
          <p:cNvPr id="47" name="Прямоугольник 46"/>
          <p:cNvSpPr/>
          <p:nvPr/>
        </p:nvSpPr>
        <p:spPr>
          <a:xfrm>
            <a:off x="4620961" y="664655"/>
            <a:ext cx="4523040" cy="307777"/>
          </a:xfrm>
          <a:prstGeom prst="rect">
            <a:avLst/>
          </a:prstGeom>
        </p:spPr>
        <p:txBody>
          <a:bodyPr wrap="square">
            <a:spAutoFit/>
          </a:bodyPr>
          <a:lstStyle/>
          <a:p>
            <a:pPr algn="ctr"/>
            <a:r>
              <a:rPr lang="ru-RU" b="1" u="sng" dirty="0" smtClean="0">
                <a:latin typeface="Arial Narrow" pitchFamily="34" charset="0"/>
                <a:cs typeface="Arial" pitchFamily="34" charset="0"/>
              </a:rPr>
              <a:t>ЖЕТКІЗУ, ЖӨНДЕУ ЖӘНЕ ПАЙДАЛАНУ</a:t>
            </a:r>
            <a:endParaRPr lang="ru-RU" b="1" u="sng" dirty="0">
              <a:latin typeface="Arial Narrow" pitchFamily="34" charset="0"/>
              <a:cs typeface="Arial" pitchFamily="34" charset="0"/>
            </a:endParaRPr>
          </a:p>
        </p:txBody>
      </p:sp>
      <p:cxnSp>
        <p:nvCxnSpPr>
          <p:cNvPr id="48" name="Прямая соединительная линия 47"/>
          <p:cNvCxnSpPr/>
          <p:nvPr/>
        </p:nvCxnSpPr>
        <p:spPr>
          <a:xfrm>
            <a:off x="4563254" y="1175918"/>
            <a:ext cx="0" cy="5199482"/>
          </a:xfrm>
          <a:prstGeom prst="line">
            <a:avLst/>
          </a:prstGeom>
          <a:ln w="127000" cmpd="tri"/>
        </p:spPr>
        <p:style>
          <a:lnRef idx="1">
            <a:schemeClr val="accent1"/>
          </a:lnRef>
          <a:fillRef idx="0">
            <a:schemeClr val="accent1"/>
          </a:fillRef>
          <a:effectRef idx="0">
            <a:schemeClr val="accent1"/>
          </a:effectRef>
          <a:fontRef idx="minor">
            <a:schemeClr val="tx1"/>
          </a:fontRef>
        </p:style>
      </p:cxnSp>
      <p:pic>
        <p:nvPicPr>
          <p:cNvPr id="49" name="Picture 2" descr="C:\Users\d.tygynbai\Desktop\648dd20cce88d6328d292bd5e8f9082b.jpg"/>
          <p:cNvPicPr>
            <a:picLocks noChangeAspect="1" noChangeArrowheads="1"/>
          </p:cNvPicPr>
          <p:nvPr/>
        </p:nvPicPr>
        <p:blipFill>
          <a:blip r:embed="rId2" cstate="print">
            <a:biLevel thresh="75000"/>
            <a:extLst>
              <a:ext uri="{BEBA8EAE-BF5A-486C-A8C5-ECC9F3942E4B}">
                <a14:imgProps xmlns:a14="http://schemas.microsoft.com/office/drawing/2010/main">
                  <a14:imgLayer r:embed="rId3">
                    <a14:imgEffect>
                      <a14:backgroundRemoval t="9267" b="89765" l="5077" r="90000">
                        <a14:foregroundMark x1="7077" y1="23651" x2="55077" y2="9267"/>
                        <a14:foregroundMark x1="55538" y1="10650" x2="85692" y2="52974"/>
                        <a14:foregroundMark x1="85846" y1="53804" x2="87846" y2="67773"/>
                        <a14:foregroundMark x1="87846" y1="69018" x2="32154" y2="84371"/>
                        <a14:foregroundMark x1="31692" y1="83956" x2="5077" y2="33748"/>
                        <a14:foregroundMark x1="5538" y1="36238" x2="5077" y2="23375"/>
                      </a14:backgroundRemoval>
                    </a14:imgEffect>
                  </a14:imgLayer>
                </a14:imgProps>
              </a:ext>
              <a:ext uri="{28A0092B-C50C-407E-A947-70E740481C1C}">
                <a14:useLocalDpi xmlns:a14="http://schemas.microsoft.com/office/drawing/2010/main" val="0"/>
              </a:ext>
            </a:extLst>
          </a:blip>
          <a:srcRect/>
          <a:stretch>
            <a:fillRect/>
          </a:stretch>
        </p:blipFill>
        <p:spPr bwMode="auto">
          <a:xfrm>
            <a:off x="43130" y="1916248"/>
            <a:ext cx="1287917" cy="1432560"/>
          </a:xfrm>
          <a:prstGeom prst="rect">
            <a:avLst/>
          </a:prstGeom>
          <a:noFill/>
          <a:effectLst>
            <a:innerShdw blurRad="63500" dist="50800" dir="10800000">
              <a:prstClr val="black">
                <a:alpha val="50000"/>
              </a:prstClr>
            </a:innerShdw>
          </a:effectLst>
          <a:extLst>
            <a:ext uri="{909E8E84-426E-40DD-AFC4-6F175D3DCCD1}">
              <a14:hiddenFill xmlns:a14="http://schemas.microsoft.com/office/drawing/2010/main">
                <a:solidFill>
                  <a:srgbClr val="FFFFFF"/>
                </a:solidFill>
              </a14:hiddenFill>
            </a:ext>
          </a:extLst>
        </p:spPr>
      </p:pic>
      <p:sp>
        <p:nvSpPr>
          <p:cNvPr id="50" name="Прямоугольник 49"/>
          <p:cNvSpPr/>
          <p:nvPr/>
        </p:nvSpPr>
        <p:spPr>
          <a:xfrm>
            <a:off x="1287917" y="2250556"/>
            <a:ext cx="2990882" cy="738664"/>
          </a:xfrm>
          <a:prstGeom prst="rect">
            <a:avLst/>
          </a:prstGeom>
          <a:solidFill>
            <a:schemeClr val="accent5">
              <a:lumMod val="20000"/>
              <a:lumOff val="80000"/>
            </a:schemeClr>
          </a:solidFill>
          <a:ln w="19050">
            <a:solidFill>
              <a:schemeClr val="tx1"/>
            </a:solidFill>
            <a:prstDash val="sysDot"/>
          </a:ln>
        </p:spPr>
        <p:txBody>
          <a:bodyPr wrap="square">
            <a:spAutoFit/>
          </a:bodyPr>
          <a:lstStyle/>
          <a:p>
            <a:pPr lvl="0" algn="ctr"/>
            <a:r>
              <a:rPr lang="ru-RU" b="1" dirty="0" smtClean="0">
                <a:latin typeface="Arial Narrow" pitchFamily="34" charset="0"/>
                <a:cs typeface="Arial" pitchFamily="34" charset="0"/>
              </a:rPr>
              <a:t>КЕДЕН ОДАҒЫНЫҢ «ЛИФТІЛЕР ҚАУІПСІЗДІГІ» ТЕХНИКАЛЫҚ РЕГЛАМЕНТІ</a:t>
            </a:r>
            <a:endParaRPr lang="ru-RU" b="1" dirty="0">
              <a:latin typeface="Arial Narrow" pitchFamily="34" charset="0"/>
            </a:endParaRPr>
          </a:p>
        </p:txBody>
      </p:sp>
      <p:sp>
        <p:nvSpPr>
          <p:cNvPr id="51" name="Прямоугольник 50"/>
          <p:cNvSpPr/>
          <p:nvPr/>
        </p:nvSpPr>
        <p:spPr>
          <a:xfrm>
            <a:off x="2" y="3239375"/>
            <a:ext cx="4411326" cy="523220"/>
          </a:xfrm>
          <a:prstGeom prst="rect">
            <a:avLst/>
          </a:prstGeom>
        </p:spPr>
        <p:txBody>
          <a:bodyPr wrap="square">
            <a:spAutoFit/>
          </a:bodyPr>
          <a:lstStyle/>
          <a:p>
            <a:pPr lvl="0" algn="just"/>
            <a:r>
              <a:rPr lang="kk-KZ" dirty="0" smtClean="0">
                <a:latin typeface="Arial Narrow" pitchFamily="34" charset="0"/>
                <a:cs typeface="Arial" pitchFamily="34" charset="0"/>
              </a:rPr>
              <a:t>ЕАЭО аумағында </a:t>
            </a:r>
            <a:r>
              <a:rPr lang="kk-KZ" b="1" u="sng" dirty="0" smtClean="0">
                <a:latin typeface="Arial Narrow" pitchFamily="34" charset="0"/>
                <a:cs typeface="Arial" pitchFamily="34" charset="0"/>
              </a:rPr>
              <a:t>лифтілерге </a:t>
            </a:r>
            <a:r>
              <a:rPr lang="kk-KZ" b="1" u="sng" dirty="0">
                <a:latin typeface="Arial Narrow" pitchFamily="34" charset="0"/>
                <a:cs typeface="Arial" pitchFamily="34" charset="0"/>
              </a:rPr>
              <a:t>және лифт қауіпсіздігі </a:t>
            </a:r>
            <a:r>
              <a:rPr lang="kk-KZ" b="1" u="sng" dirty="0" smtClean="0">
                <a:latin typeface="Arial Narrow" pitchFamily="34" charset="0"/>
                <a:cs typeface="Arial" pitchFamily="34" charset="0"/>
              </a:rPr>
              <a:t>құрылғыларына</a:t>
            </a:r>
            <a:r>
              <a:rPr lang="kk-KZ" dirty="0" smtClean="0">
                <a:latin typeface="Arial Narrow" pitchFamily="34" charset="0"/>
                <a:cs typeface="Arial" pitchFamily="34" charset="0"/>
              </a:rPr>
              <a:t> талаптарды бекітеді</a:t>
            </a:r>
            <a:endParaRPr lang="ru-RU" dirty="0">
              <a:latin typeface="Arial Narrow" pitchFamily="34" charset="0"/>
            </a:endParaRPr>
          </a:p>
        </p:txBody>
      </p:sp>
      <p:pic>
        <p:nvPicPr>
          <p:cNvPr id="52" name="Рисунок 51">
            <a:extLst>
              <a:ext uri="{FF2B5EF4-FFF2-40B4-BE49-F238E27FC236}">
                <a16:creationId xmlns="" xmlns:a16="http://schemas.microsoft.com/office/drawing/2014/main" id="{B6628E30-8528-471D-9E18-8D000CFA5DF2}"/>
              </a:ext>
            </a:extLst>
          </p:cNvPr>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93310" y="4071785"/>
            <a:ext cx="1038930" cy="1038930"/>
          </a:xfrm>
          <a:prstGeom prst="rect">
            <a:avLst/>
          </a:prstGeom>
          <a:effectLst/>
        </p:spPr>
      </p:pic>
      <p:sp>
        <p:nvSpPr>
          <p:cNvPr id="53" name="Прямоугольник 52"/>
          <p:cNvSpPr/>
          <p:nvPr/>
        </p:nvSpPr>
        <p:spPr>
          <a:xfrm>
            <a:off x="1287917" y="4138646"/>
            <a:ext cx="2990882" cy="738664"/>
          </a:xfrm>
          <a:prstGeom prst="rect">
            <a:avLst/>
          </a:prstGeom>
          <a:solidFill>
            <a:schemeClr val="accent5">
              <a:lumMod val="20000"/>
              <a:lumOff val="80000"/>
            </a:schemeClr>
          </a:solidFill>
          <a:ln w="19050">
            <a:solidFill>
              <a:schemeClr val="tx1"/>
            </a:solidFill>
            <a:prstDash val="sysDot"/>
          </a:ln>
        </p:spPr>
        <p:txBody>
          <a:bodyPr wrap="square">
            <a:spAutoFit/>
          </a:bodyPr>
          <a:lstStyle/>
          <a:p>
            <a:pPr lvl="0" algn="ctr"/>
            <a:r>
              <a:rPr lang="ru-RU" b="1" dirty="0" smtClean="0">
                <a:latin typeface="Arial Narrow" pitchFamily="34" charset="0"/>
                <a:cs typeface="Arial" pitchFamily="34" charset="0"/>
              </a:rPr>
              <a:t>«ЛИФТІЛЕР ҚАУІПСІЗДІГІ» СТАНДАРТТАРЫНЫҢ ТІЗІМІ  </a:t>
            </a:r>
          </a:p>
          <a:p>
            <a:pPr lvl="0" algn="ctr"/>
            <a:r>
              <a:rPr lang="ru-RU" b="1" dirty="0" smtClean="0">
                <a:latin typeface="Arial Narrow" pitchFamily="34" charset="0"/>
                <a:cs typeface="Arial" pitchFamily="34" charset="0"/>
              </a:rPr>
              <a:t>(ТР </a:t>
            </a:r>
            <a:r>
              <a:rPr lang="ru-RU" b="1" dirty="0">
                <a:latin typeface="Arial Narrow" pitchFamily="34" charset="0"/>
                <a:cs typeface="Arial" pitchFamily="34" charset="0"/>
              </a:rPr>
              <a:t>ТС </a:t>
            </a:r>
            <a:r>
              <a:rPr lang="ru-RU" b="1" dirty="0" smtClean="0">
                <a:latin typeface="Arial Narrow" pitchFamily="34" charset="0"/>
                <a:cs typeface="Arial" pitchFamily="34" charset="0"/>
              </a:rPr>
              <a:t>011/2011 </a:t>
            </a:r>
            <a:r>
              <a:rPr lang="ru-RU" b="1" dirty="0" err="1" smtClean="0">
                <a:latin typeface="Arial Narrow" pitchFamily="34" charset="0"/>
                <a:cs typeface="Arial" pitchFamily="34" charset="0"/>
              </a:rPr>
              <a:t>қосымша</a:t>
            </a:r>
            <a:r>
              <a:rPr lang="ru-RU" b="1" dirty="0" smtClean="0">
                <a:latin typeface="Arial Narrow" pitchFamily="34" charset="0"/>
                <a:cs typeface="Arial" pitchFamily="34" charset="0"/>
              </a:rPr>
              <a:t>)</a:t>
            </a:r>
            <a:endParaRPr lang="ru-RU" dirty="0">
              <a:latin typeface="Arial Narrow" pitchFamily="34" charset="0"/>
            </a:endParaRPr>
          </a:p>
        </p:txBody>
      </p:sp>
      <p:sp>
        <p:nvSpPr>
          <p:cNvPr id="54" name="Прямоугольник 53"/>
          <p:cNvSpPr/>
          <p:nvPr/>
        </p:nvSpPr>
        <p:spPr>
          <a:xfrm>
            <a:off x="265403" y="5354734"/>
            <a:ext cx="4145924" cy="523220"/>
          </a:xfrm>
          <a:prstGeom prst="rect">
            <a:avLst/>
          </a:prstGeom>
        </p:spPr>
        <p:txBody>
          <a:bodyPr wrap="square">
            <a:spAutoFit/>
          </a:bodyPr>
          <a:lstStyle/>
          <a:p>
            <a:pPr lvl="0"/>
            <a:r>
              <a:rPr lang="kk-KZ" b="1" u="sng" dirty="0" smtClean="0">
                <a:latin typeface="Arial Narrow" pitchFamily="34" charset="0"/>
                <a:cs typeface="Arial" pitchFamily="34" charset="0"/>
              </a:rPr>
              <a:t>Қондырғыларға, оның құраушыларына </a:t>
            </a:r>
            <a:r>
              <a:rPr lang="kk-KZ" dirty="0" smtClean="0">
                <a:latin typeface="Arial Narrow" pitchFamily="34" charset="0"/>
                <a:cs typeface="Arial" pitchFamily="34" charset="0"/>
              </a:rPr>
              <a:t>талаптарды, сондай-ақ оларды </a:t>
            </a:r>
            <a:r>
              <a:rPr lang="kk-KZ" b="1" u="sng" dirty="0" smtClean="0">
                <a:latin typeface="Arial Narrow" pitchFamily="34" charset="0"/>
                <a:cs typeface="Arial" pitchFamily="34" charset="0"/>
              </a:rPr>
              <a:t>сынақтан өткізу әдістерін </a:t>
            </a:r>
            <a:r>
              <a:rPr lang="kk-KZ" dirty="0" smtClean="0">
                <a:latin typeface="Arial Narrow" pitchFamily="34" charset="0"/>
                <a:cs typeface="Arial" pitchFamily="34" charset="0"/>
              </a:rPr>
              <a:t>бекітеді</a:t>
            </a:r>
            <a:endParaRPr lang="ru-RU" dirty="0">
              <a:latin typeface="Arial Narrow" pitchFamily="34" charset="0"/>
            </a:endParaRPr>
          </a:p>
        </p:txBody>
      </p:sp>
      <p:sp>
        <p:nvSpPr>
          <p:cNvPr id="57" name="Прямоугольник 56"/>
          <p:cNvSpPr/>
          <p:nvPr/>
        </p:nvSpPr>
        <p:spPr>
          <a:xfrm>
            <a:off x="1" y="1218872"/>
            <a:ext cx="4478168" cy="338554"/>
          </a:xfrm>
          <a:prstGeom prst="rect">
            <a:avLst/>
          </a:prstGeom>
        </p:spPr>
        <p:txBody>
          <a:bodyPr wrap="square">
            <a:spAutoFit/>
          </a:bodyPr>
          <a:lstStyle/>
          <a:p>
            <a:pPr algn="ctr"/>
            <a:r>
              <a:rPr lang="ru-RU" sz="1600" b="1" dirty="0" err="1" smtClean="0">
                <a:latin typeface="Arial Narrow" pitchFamily="34" charset="0"/>
                <a:cs typeface="Arial" pitchFamily="34" charset="0"/>
              </a:rPr>
              <a:t>ұлттық</a:t>
            </a:r>
            <a:r>
              <a:rPr lang="ru-RU" sz="1600" b="1" dirty="0" smtClean="0">
                <a:latin typeface="Arial Narrow" pitchFamily="34" charset="0"/>
                <a:cs typeface="Arial" pitchFamily="34" charset="0"/>
              </a:rPr>
              <a:t> </a:t>
            </a:r>
            <a:r>
              <a:rPr lang="ru-RU" sz="1600" b="1" dirty="0" err="1" smtClean="0">
                <a:latin typeface="Arial Narrow" pitchFamily="34" charset="0"/>
                <a:cs typeface="Arial" pitchFamily="34" charset="0"/>
              </a:rPr>
              <a:t>заңнаманы</a:t>
            </a:r>
            <a:r>
              <a:rPr lang="ru-RU" sz="1600" b="1" dirty="0" smtClean="0">
                <a:latin typeface="Arial Narrow" pitchFamily="34" charset="0"/>
                <a:cs typeface="Arial" pitchFamily="34" charset="0"/>
              </a:rPr>
              <a:t> </a:t>
            </a:r>
            <a:r>
              <a:rPr lang="ru-RU" sz="1600" b="1" dirty="0" err="1" smtClean="0">
                <a:latin typeface="Arial Narrow" pitchFamily="34" charset="0"/>
                <a:cs typeface="Arial" pitchFamily="34" charset="0"/>
              </a:rPr>
              <a:t>іске</a:t>
            </a:r>
            <a:r>
              <a:rPr lang="ru-RU" sz="1600" b="1" dirty="0" smtClean="0">
                <a:latin typeface="Arial Narrow" pitchFamily="34" charset="0"/>
                <a:cs typeface="Arial" pitchFamily="34" charset="0"/>
              </a:rPr>
              <a:t> </a:t>
            </a:r>
            <a:r>
              <a:rPr lang="ru-RU" sz="1600" b="1" dirty="0" err="1" smtClean="0">
                <a:latin typeface="Arial Narrow" pitchFamily="34" charset="0"/>
                <a:cs typeface="Arial" pitchFamily="34" charset="0"/>
              </a:rPr>
              <a:t>асыру</a:t>
            </a:r>
            <a:endParaRPr lang="ru-RU" sz="1600" b="1" dirty="0">
              <a:latin typeface="Arial Narrow" pitchFamily="34" charset="0"/>
              <a:cs typeface="Arial" pitchFamily="34" charset="0"/>
            </a:endParaRPr>
          </a:p>
        </p:txBody>
      </p:sp>
      <p:sp>
        <p:nvSpPr>
          <p:cNvPr id="60" name="Прямоугольник 59"/>
          <p:cNvSpPr/>
          <p:nvPr/>
        </p:nvSpPr>
        <p:spPr>
          <a:xfrm>
            <a:off x="4620960" y="1218872"/>
            <a:ext cx="4514294" cy="338554"/>
          </a:xfrm>
          <a:prstGeom prst="rect">
            <a:avLst/>
          </a:prstGeom>
        </p:spPr>
        <p:txBody>
          <a:bodyPr wrap="square">
            <a:spAutoFit/>
          </a:bodyPr>
          <a:lstStyle/>
          <a:p>
            <a:pPr algn="ctr"/>
            <a:r>
              <a:rPr lang="kk-KZ" sz="1600" b="1" dirty="0">
                <a:latin typeface="Arial Narrow" pitchFamily="34" charset="0"/>
                <a:cs typeface="Arial" pitchFamily="34" charset="0"/>
              </a:rPr>
              <a:t>ұ</a:t>
            </a:r>
            <a:r>
              <a:rPr lang="kk-KZ" sz="1600" b="1" dirty="0" smtClean="0">
                <a:latin typeface="Arial Narrow" pitchFamily="34" charset="0"/>
                <a:cs typeface="Arial" pitchFamily="34" charset="0"/>
              </a:rPr>
              <a:t>лттық заңнамаға сәйкес</a:t>
            </a:r>
            <a:endParaRPr lang="ru-RU" sz="1600" b="1" dirty="0">
              <a:latin typeface="Arial Narrow" pitchFamily="34" charset="0"/>
              <a:cs typeface="Arial" pitchFamily="34" charset="0"/>
            </a:endParaRPr>
          </a:p>
        </p:txBody>
      </p:sp>
      <p:sp>
        <p:nvSpPr>
          <p:cNvPr id="64" name="Прямоугольник 63"/>
          <p:cNvSpPr/>
          <p:nvPr/>
        </p:nvSpPr>
        <p:spPr>
          <a:xfrm>
            <a:off x="5886622" y="2250556"/>
            <a:ext cx="3026105" cy="738664"/>
          </a:xfrm>
          <a:prstGeom prst="rect">
            <a:avLst/>
          </a:prstGeom>
          <a:solidFill>
            <a:schemeClr val="accent5">
              <a:lumMod val="20000"/>
              <a:lumOff val="80000"/>
            </a:schemeClr>
          </a:solidFill>
          <a:ln w="19050">
            <a:solidFill>
              <a:schemeClr val="tx1"/>
            </a:solidFill>
            <a:prstDash val="sysDash"/>
          </a:ln>
        </p:spPr>
        <p:txBody>
          <a:bodyPr wrap="square">
            <a:spAutoFit/>
          </a:bodyPr>
          <a:lstStyle/>
          <a:p>
            <a:pPr algn="ctr"/>
            <a:r>
              <a:rPr lang="ru-RU" b="1" u="sng" dirty="0" smtClean="0">
                <a:latin typeface="Arial Narrow" pitchFamily="34" charset="0"/>
                <a:cs typeface="Arial" pitchFamily="34" charset="0"/>
              </a:rPr>
              <a:t>ЛИФТІЛЕРДІ ЖЕТКІЗУ, ЖӨНДЕУ ЖӘНЕ ПАЙДАЛАНУ БОЙЫНША ЖҰМЫСТАР</a:t>
            </a:r>
          </a:p>
          <a:p>
            <a:pPr lvl="0" algn="ctr"/>
            <a:endParaRPr lang="ru-RU" b="1" dirty="0" smtClean="0">
              <a:latin typeface="Arial Narrow" pitchFamily="34" charset="0"/>
              <a:cs typeface="Arial" pitchFamily="34" charset="0"/>
            </a:endParaRPr>
          </a:p>
        </p:txBody>
      </p:sp>
      <p:pic>
        <p:nvPicPr>
          <p:cNvPr id="65" name="Picture 4" descr="C:\Users\d.tygynbai\Desktop\16540688-red-yellow-blue-green-and-black-folders-stores-important-documents-on-abstract-background.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2962" b="98519" l="8692" r="93154">
                        <a14:foregroundMark x1="8923" y1="12537" x2="55231" y2="3060"/>
                        <a14:foregroundMark x1="56538" y1="3949" x2="74000" y2="18756"/>
                        <a14:foregroundMark x1="74000" y1="18559" x2="77923" y2="12734"/>
                        <a14:foregroundMark x1="78385" y1="12932" x2="89615" y2="14709"/>
                        <a14:foregroundMark x1="89846" y1="15597" x2="88615" y2="77394"/>
                        <a14:foregroundMark x1="88462" y1="76900" x2="77538" y2="97631"/>
                        <a14:foregroundMark x1="77077" y1="98519" x2="63923" y2="95656"/>
                        <a14:foregroundMark x1="64769" y1="95262" x2="64615" y2="78282"/>
                        <a14:foregroundMark x1="64615" y1="78282" x2="28000" y2="91609"/>
                        <a14:foregroundMark x1="28000" y1="91609" x2="8923" y2="72458"/>
                        <a14:foregroundMark x1="8923" y1="72458" x2="8923" y2="11451"/>
                      </a14:backgroundRemoval>
                    </a14:imgEffect>
                    <a14:imgEffect>
                      <a14:colorTemperature colorTemp="59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603956" y="3944729"/>
            <a:ext cx="1362018" cy="1061326"/>
          </a:xfrm>
          <a:prstGeom prst="rect">
            <a:avLst/>
          </a:prstGeom>
          <a:noFill/>
          <a:extLst>
            <a:ext uri="{909E8E84-426E-40DD-AFC4-6F175D3DCCD1}">
              <a14:hiddenFill xmlns:a14="http://schemas.microsoft.com/office/drawing/2010/main">
                <a:solidFill>
                  <a:srgbClr val="FFFFFF"/>
                </a:solidFill>
              </a14:hiddenFill>
            </a:ext>
          </a:extLst>
        </p:spPr>
      </p:pic>
      <p:sp>
        <p:nvSpPr>
          <p:cNvPr id="75" name="Прямоугольник 74"/>
          <p:cNvSpPr/>
          <p:nvPr/>
        </p:nvSpPr>
        <p:spPr>
          <a:xfrm>
            <a:off x="5902226" y="4106060"/>
            <a:ext cx="3057465" cy="738664"/>
          </a:xfrm>
          <a:prstGeom prst="rect">
            <a:avLst/>
          </a:prstGeom>
          <a:solidFill>
            <a:schemeClr val="accent5">
              <a:lumMod val="20000"/>
              <a:lumOff val="80000"/>
            </a:schemeClr>
          </a:solidFill>
          <a:ln w="19050">
            <a:solidFill>
              <a:schemeClr val="tx1"/>
            </a:solidFill>
            <a:prstDash val="sysDash"/>
          </a:ln>
        </p:spPr>
        <p:txBody>
          <a:bodyPr wrap="square">
            <a:spAutoFit/>
          </a:bodyPr>
          <a:lstStyle/>
          <a:p>
            <a:pPr lvl="0" algn="ctr"/>
            <a:endParaRPr lang="kk-KZ" b="1" dirty="0" smtClean="0">
              <a:latin typeface="Arial Narrow" pitchFamily="34" charset="0"/>
              <a:cs typeface="Arial" pitchFamily="34" charset="0"/>
            </a:endParaRPr>
          </a:p>
          <a:p>
            <a:pPr lvl="0" algn="ctr"/>
            <a:r>
              <a:rPr lang="kk-KZ" b="1" dirty="0" smtClean="0">
                <a:latin typeface="Arial Narrow" pitchFamily="34" charset="0"/>
                <a:cs typeface="Arial" pitchFamily="34" charset="0"/>
              </a:rPr>
              <a:t>ЛИФТ ШАРУАШЫЛЫҒЫ ҚЫЗМЕТІН РЕТТЕУ</a:t>
            </a:r>
          </a:p>
        </p:txBody>
      </p:sp>
      <p:sp>
        <p:nvSpPr>
          <p:cNvPr id="78" name="Прямоугольник 77"/>
          <p:cNvSpPr/>
          <p:nvPr/>
        </p:nvSpPr>
        <p:spPr>
          <a:xfrm>
            <a:off x="4752646" y="5353816"/>
            <a:ext cx="4305629" cy="584775"/>
          </a:xfrm>
          <a:prstGeom prst="rect">
            <a:avLst/>
          </a:prstGeom>
        </p:spPr>
        <p:txBody>
          <a:bodyPr wrap="square">
            <a:spAutoFit/>
          </a:bodyPr>
          <a:lstStyle/>
          <a:p>
            <a:pPr lvl="0" algn="ctr"/>
            <a:r>
              <a:rPr lang="kk-KZ" sz="1600" b="1" dirty="0" smtClean="0">
                <a:solidFill>
                  <a:srgbClr val="002060"/>
                </a:solidFill>
                <a:latin typeface="Arial Narrow" pitchFamily="34" charset="0"/>
                <a:cs typeface="Arial" pitchFamily="34" charset="0"/>
              </a:rPr>
              <a:t>Қазіргі уақытта 16 нормативтік құжаттармен жүзеге асырылады</a:t>
            </a:r>
            <a:endParaRPr lang="ru-RU" sz="1600" b="1" dirty="0">
              <a:solidFill>
                <a:srgbClr val="002060"/>
              </a:solidFill>
              <a:latin typeface="Arial Narrow" pitchFamily="34" charset="0"/>
              <a:cs typeface="Arial" pitchFamily="34" charset="0"/>
            </a:endParaRPr>
          </a:p>
        </p:txBody>
      </p:sp>
      <p:pic>
        <p:nvPicPr>
          <p:cNvPr id="79" name="Picture 5" descr="C:\Users\d.tygynbai\Desktop\Без названия.jpg"/>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7763" b="91781" l="9174" r="89450">
                        <a14:foregroundMark x1="14220" y1="21461" x2="27064" y2="10046"/>
                        <a14:foregroundMark x1="27523" y1="10046" x2="31651" y2="13242"/>
                        <a14:foregroundMark x1="31651" y1="14612" x2="28440" y2="19635"/>
                        <a14:foregroundMark x1="28899" y1="19635" x2="41284" y2="25114"/>
                        <a14:foregroundMark x1="41284" y1="25571" x2="43578" y2="11872"/>
                        <a14:foregroundMark x1="43578" y1="11872" x2="53211" y2="10502"/>
                        <a14:foregroundMark x1="53211" y1="10959" x2="60550" y2="15068"/>
                        <a14:foregroundMark x1="60550" y1="15068" x2="61009" y2="24201"/>
                        <a14:foregroundMark x1="61009" y1="24658" x2="57798" y2="27397"/>
                        <a14:foregroundMark x1="57798" y1="27854" x2="74312" y2="19635"/>
                        <a14:foregroundMark x1="74312" y1="19635" x2="71560" y2="12329"/>
                        <a14:foregroundMark x1="71560" y1="12329" x2="81193" y2="7763"/>
                        <a14:foregroundMark x1="81193" y1="7763" x2="87615" y2="24658"/>
                        <a14:foregroundMark x1="87615" y1="24658" x2="82569" y2="28767"/>
                        <a14:foregroundMark x1="82110" y1="29224" x2="79358" y2="26484"/>
                        <a14:foregroundMark x1="79358" y1="26484" x2="70642" y2="32877"/>
                        <a14:foregroundMark x1="70642" y1="33333" x2="62385" y2="36073"/>
                        <a14:foregroundMark x1="62385" y1="36073" x2="61927" y2="91781"/>
                        <a14:foregroundMark x1="61927" y1="90868" x2="39450" y2="91324"/>
                        <a14:foregroundMark x1="38991" y1="90868" x2="41284" y2="87215"/>
                        <a14:foregroundMark x1="41284" y1="87215" x2="41284" y2="36073"/>
                        <a14:foregroundMark x1="41284" y1="36073" x2="31193" y2="32877"/>
                        <a14:foregroundMark x1="30734" y1="32877" x2="20642" y2="24201"/>
                        <a14:foregroundMark x1="20642" y1="24201" x2="16972" y2="27854"/>
                        <a14:foregroundMark x1="16972" y1="27854" x2="11927" y2="23288"/>
                        <a14:foregroundMark x1="11927" y1="23288" x2="13761" y2="21005"/>
                      </a14:backgroundRemoval>
                    </a14:imgEffect>
                  </a14:imgLayer>
                </a14:imgProps>
              </a:ext>
              <a:ext uri="{28A0092B-C50C-407E-A947-70E740481C1C}">
                <a14:useLocalDpi xmlns:a14="http://schemas.microsoft.com/office/drawing/2010/main" val="0"/>
              </a:ext>
            </a:extLst>
          </a:blip>
          <a:srcRect/>
          <a:stretch>
            <a:fillRect/>
          </a:stretch>
        </p:blipFill>
        <p:spPr bwMode="auto">
          <a:xfrm>
            <a:off x="4629586" y="2040153"/>
            <a:ext cx="1257036" cy="1262802"/>
          </a:xfrm>
          <a:prstGeom prst="rect">
            <a:avLst/>
          </a:prstGeom>
          <a:noFill/>
          <a:extLst>
            <a:ext uri="{909E8E84-426E-40DD-AFC4-6F175D3DCCD1}">
              <a14:hiddenFill xmlns:a14="http://schemas.microsoft.com/office/drawing/2010/main">
                <a:solidFill>
                  <a:srgbClr val="FFFFFF"/>
                </a:solidFill>
              </a14:hiddenFill>
            </a:ext>
          </a:extLst>
        </p:spPr>
      </p:pic>
      <p:sp>
        <p:nvSpPr>
          <p:cNvPr id="80" name="Номер слайда 1"/>
          <p:cNvSpPr>
            <a:spLocks noGrp="1"/>
          </p:cNvSpPr>
          <p:nvPr>
            <p:ph type="sldNum" sz="quarter" idx="12"/>
          </p:nvPr>
        </p:nvSpPr>
        <p:spPr>
          <a:xfrm>
            <a:off x="6972300" y="6356351"/>
            <a:ext cx="2057400" cy="365125"/>
          </a:xfrm>
        </p:spPr>
        <p:txBody>
          <a:bodyPr/>
          <a:lstStyle/>
          <a:p>
            <a:fld id="{5B7F4A50-1F8C-475C-94C6-2D50DD7E8F1E}" type="slidenum">
              <a:rPr lang="en-US" sz="1000" smtClean="0">
                <a:solidFill>
                  <a:schemeClr val="tx1"/>
                </a:solidFill>
                <a:latin typeface="Arial Narrow" pitchFamily="34" charset="0"/>
              </a:rPr>
              <a:t>11</a:t>
            </a:fld>
            <a:endParaRPr lang="en-US" sz="1000" dirty="0">
              <a:solidFill>
                <a:schemeClr val="tx1"/>
              </a:solidFill>
              <a:latin typeface="Arial Narrow" pitchFamily="34" charset="0"/>
            </a:endParaRPr>
          </a:p>
        </p:txBody>
      </p:sp>
    </p:spTree>
    <p:extLst>
      <p:ext uri="{BB962C8B-B14F-4D97-AF65-F5344CB8AC3E}">
        <p14:creationId xmlns:p14="http://schemas.microsoft.com/office/powerpoint/2010/main" val="3979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1000" fill="hold"/>
                                        <p:tgtEl>
                                          <p:spTgt spid="41"/>
                                        </p:tgtEl>
                                        <p:attrNameLst>
                                          <p:attrName>ppt_w</p:attrName>
                                        </p:attrNameLst>
                                      </p:cBhvr>
                                      <p:tavLst>
                                        <p:tav tm="0">
                                          <p:val>
                                            <p:fltVal val="0"/>
                                          </p:val>
                                        </p:tav>
                                        <p:tav tm="100000">
                                          <p:val>
                                            <p:strVal val="#ppt_w"/>
                                          </p:val>
                                        </p:tav>
                                      </p:tavLst>
                                    </p:anim>
                                    <p:anim calcmode="lin" valueType="num">
                                      <p:cBhvr>
                                        <p:cTn id="8" dur="1000" fill="hold"/>
                                        <p:tgtEl>
                                          <p:spTgt spid="41"/>
                                        </p:tgtEl>
                                        <p:attrNameLst>
                                          <p:attrName>ppt_h</p:attrName>
                                        </p:attrNameLst>
                                      </p:cBhvr>
                                      <p:tavLst>
                                        <p:tav tm="0">
                                          <p:val>
                                            <p:fltVal val="0"/>
                                          </p:val>
                                        </p:tav>
                                        <p:tav tm="100000">
                                          <p:val>
                                            <p:strVal val="#ppt_h"/>
                                          </p:val>
                                        </p:tav>
                                      </p:tavLst>
                                    </p:anim>
                                    <p:animEffect transition="in" filter="fade">
                                      <p:cBhvr>
                                        <p:cTn id="9"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4" descr="https://scrproperty.net/wp-content/uploads/sites/30/2014/05/buying-property-checklist.jpg"/>
          <p:cNvSpPr>
            <a:spLocks noChangeAspect="1" noChangeArrowheads="1"/>
          </p:cNvSpPr>
          <p:nvPr/>
        </p:nvSpPr>
        <p:spPr bwMode="auto">
          <a:xfrm>
            <a:off x="155575" y="-192617"/>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 name="AutoShape 6" descr="https://scrproperty.net/wp-content/uploads/sites/30/2014/05/buying-property-checklist.jpg"/>
          <p:cNvSpPr>
            <a:spLocks noChangeAspect="1" noChangeArrowheads="1"/>
          </p:cNvSpPr>
          <p:nvPr/>
        </p:nvSpPr>
        <p:spPr bwMode="auto">
          <a:xfrm>
            <a:off x="307975" y="10584"/>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 name="AutoShape 8" descr="https://scrproperty.net/wp-content/uploads/sites/30/2014/05/buying-property-checklist.jpg"/>
          <p:cNvSpPr>
            <a:spLocks noChangeAspect="1" noChangeArrowheads="1"/>
          </p:cNvSpPr>
          <p:nvPr/>
        </p:nvSpPr>
        <p:spPr bwMode="auto">
          <a:xfrm>
            <a:off x="460375" y="375709"/>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1" name="Прямоугольник 40"/>
          <p:cNvSpPr/>
          <p:nvPr/>
        </p:nvSpPr>
        <p:spPr>
          <a:xfrm>
            <a:off x="-8746" y="1765"/>
            <a:ext cx="9144000" cy="338554"/>
          </a:xfrm>
          <a:prstGeom prst="rect">
            <a:avLst/>
          </a:prstGeom>
          <a:solidFill>
            <a:srgbClr val="0070C0"/>
          </a:solidFill>
          <a:effectLst/>
        </p:spPr>
        <p:txBody>
          <a:bodyPr wrap="square" lIns="91440" tIns="45720" rIns="91440" bIns="45720">
            <a:spAutoFit/>
          </a:bodyPr>
          <a:lstStyle/>
          <a:p>
            <a:pPr algn="ctr"/>
            <a:r>
              <a:rPr lang="kk-KZ" sz="1600" b="1" dirty="0" smtClean="0">
                <a:ln w="0"/>
                <a:solidFill>
                  <a:schemeClr val="bg1"/>
                </a:solidFill>
                <a:effectLst>
                  <a:outerShdw blurRad="38100" dist="19050" dir="2700000" algn="tl" rotWithShape="0">
                    <a:schemeClr val="dk1">
                      <a:alpha val="40000"/>
                    </a:schemeClr>
                  </a:outerShdw>
                </a:effectLst>
                <a:latin typeface="Arial Narrow" pitchFamily="34" charset="0"/>
              </a:rPr>
              <a:t>ЖЕТКІЗУГЕ, ЖӨНДЕУГЕ ЖӘНЕ ПАЙДАЛАНУҒА ТАЛАПТАР БОЙЫНША ҰЛТТЫҚ СТАНДАРТ</a:t>
            </a:r>
            <a:endParaRPr lang="ru-RU" sz="1600" b="1" dirty="0">
              <a:ln w="0"/>
              <a:solidFill>
                <a:schemeClr val="bg1"/>
              </a:solidFill>
              <a:effectLst>
                <a:outerShdw blurRad="38100" dist="19050" dir="2700000" algn="tl" rotWithShape="0">
                  <a:schemeClr val="dk1">
                    <a:alpha val="40000"/>
                  </a:schemeClr>
                </a:outerShdw>
              </a:effectLst>
              <a:latin typeface="Arial Narrow" pitchFamily="34" charset="0"/>
            </a:endParaRPr>
          </a:p>
        </p:txBody>
      </p:sp>
      <p:sp>
        <p:nvSpPr>
          <p:cNvPr id="23" name="Прямоугольник 22">
            <a:extLst>
              <a:ext uri="{FF2B5EF4-FFF2-40B4-BE49-F238E27FC236}">
                <a16:creationId xmlns="" xmlns:a16="http://schemas.microsoft.com/office/drawing/2014/main" id="{29B5CBEB-9FA7-4F49-AD6B-9C4EE2A9416D}"/>
              </a:ext>
            </a:extLst>
          </p:cNvPr>
          <p:cNvSpPr/>
          <p:nvPr/>
        </p:nvSpPr>
        <p:spPr>
          <a:xfrm>
            <a:off x="0" y="1300298"/>
            <a:ext cx="1349022" cy="461665"/>
          </a:xfrm>
          <a:prstGeom prst="rect">
            <a:avLst/>
          </a:prstGeom>
        </p:spPr>
        <p:txBody>
          <a:bodyPr wrap="square">
            <a:spAutoFit/>
          </a:bodyPr>
          <a:lstStyle/>
          <a:p>
            <a:pPr algn="ctr"/>
            <a:r>
              <a:rPr lang="kk-KZ" sz="1200" b="1" dirty="0" smtClean="0">
                <a:latin typeface="Arial Narrow" pitchFamily="34" charset="0"/>
                <a:cs typeface="Arial" pitchFamily="34" charset="0"/>
              </a:rPr>
              <a:t>Жеткізушіге талаптар</a:t>
            </a:r>
            <a:endParaRPr lang="x-none" sz="1200" b="1" dirty="0">
              <a:latin typeface="Arial Narrow" pitchFamily="34" charset="0"/>
              <a:cs typeface="Arial" pitchFamily="34" charset="0"/>
            </a:endParaRPr>
          </a:p>
        </p:txBody>
      </p:sp>
      <p:sp>
        <p:nvSpPr>
          <p:cNvPr id="24" name="Прямоугольник 23">
            <a:extLst>
              <a:ext uri="{FF2B5EF4-FFF2-40B4-BE49-F238E27FC236}">
                <a16:creationId xmlns="" xmlns:a16="http://schemas.microsoft.com/office/drawing/2014/main" id="{CCEB0EAE-F23A-403C-B958-7C7F8BC0E30C}"/>
              </a:ext>
            </a:extLst>
          </p:cNvPr>
          <p:cNvSpPr/>
          <p:nvPr/>
        </p:nvSpPr>
        <p:spPr>
          <a:xfrm>
            <a:off x="1452119" y="1276050"/>
            <a:ext cx="1349022" cy="461665"/>
          </a:xfrm>
          <a:prstGeom prst="rect">
            <a:avLst/>
          </a:prstGeom>
        </p:spPr>
        <p:txBody>
          <a:bodyPr wrap="square">
            <a:spAutoFit/>
          </a:bodyPr>
          <a:lstStyle/>
          <a:p>
            <a:pPr algn="ctr"/>
            <a:r>
              <a:rPr lang="ru-RU" sz="1200" b="1" dirty="0" err="1" smtClean="0">
                <a:latin typeface="Arial Narrow" pitchFamily="34" charset="0"/>
                <a:cs typeface="Arial" pitchFamily="34" charset="0"/>
              </a:rPr>
              <a:t>жөндеу</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жүргізуші</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ұйымға</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талаптар</a:t>
            </a:r>
            <a:endParaRPr lang="x-none" sz="1200" b="1" dirty="0">
              <a:latin typeface="Arial Narrow" pitchFamily="34" charset="0"/>
              <a:cs typeface="Arial" pitchFamily="34" charset="0"/>
            </a:endParaRPr>
          </a:p>
        </p:txBody>
      </p:sp>
      <p:sp>
        <p:nvSpPr>
          <p:cNvPr id="25" name="Прямоугольник 24">
            <a:extLst>
              <a:ext uri="{FF2B5EF4-FFF2-40B4-BE49-F238E27FC236}">
                <a16:creationId xmlns="" xmlns:a16="http://schemas.microsoft.com/office/drawing/2014/main" id="{B7F4DDDF-D3D3-4355-87A7-8E717F6B361A}"/>
              </a:ext>
            </a:extLst>
          </p:cNvPr>
          <p:cNvSpPr/>
          <p:nvPr/>
        </p:nvSpPr>
        <p:spPr>
          <a:xfrm>
            <a:off x="2925836" y="1284214"/>
            <a:ext cx="1776270" cy="646331"/>
          </a:xfrm>
          <a:prstGeom prst="rect">
            <a:avLst/>
          </a:prstGeom>
        </p:spPr>
        <p:txBody>
          <a:bodyPr wrap="square">
            <a:spAutoFit/>
          </a:bodyPr>
          <a:lstStyle/>
          <a:p>
            <a:pPr algn="ctr"/>
            <a:r>
              <a:rPr lang="ru-RU" sz="1200" b="1" dirty="0" err="1">
                <a:latin typeface="Arial Narrow" pitchFamily="34" charset="0"/>
                <a:cs typeface="Arial" pitchFamily="34" charset="0"/>
              </a:rPr>
              <a:t>Қ</a:t>
            </a:r>
            <a:r>
              <a:rPr lang="ru-RU" sz="1200" b="1" dirty="0" err="1" smtClean="0">
                <a:latin typeface="Arial Narrow" pitchFamily="34" charset="0"/>
                <a:cs typeface="Arial" pitchFamily="34" charset="0"/>
              </a:rPr>
              <a:t>ондырғы</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иесіне</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және</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сервистік</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компанияға</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талаптар</a:t>
            </a:r>
            <a:endParaRPr lang="x-none" sz="1200" b="1" dirty="0">
              <a:latin typeface="Arial Narrow" pitchFamily="34" charset="0"/>
              <a:cs typeface="Arial" pitchFamily="34" charset="0"/>
            </a:endParaRPr>
          </a:p>
        </p:txBody>
      </p:sp>
      <p:sp>
        <p:nvSpPr>
          <p:cNvPr id="26" name="Прямоугольник 25">
            <a:extLst>
              <a:ext uri="{FF2B5EF4-FFF2-40B4-BE49-F238E27FC236}">
                <a16:creationId xmlns="" xmlns:a16="http://schemas.microsoft.com/office/drawing/2014/main" id="{C6B0BF2A-2CFC-40AA-9915-0D63FF88E066}"/>
              </a:ext>
            </a:extLst>
          </p:cNvPr>
          <p:cNvSpPr/>
          <p:nvPr/>
        </p:nvSpPr>
        <p:spPr>
          <a:xfrm>
            <a:off x="4570166" y="1276050"/>
            <a:ext cx="2002084" cy="830997"/>
          </a:xfrm>
          <a:prstGeom prst="rect">
            <a:avLst/>
          </a:prstGeom>
        </p:spPr>
        <p:txBody>
          <a:bodyPr wrap="square">
            <a:spAutoFit/>
          </a:bodyPr>
          <a:lstStyle/>
          <a:p>
            <a:pPr algn="ctr"/>
            <a:r>
              <a:rPr lang="ru-RU" sz="1200" b="1" dirty="0" err="1" smtClean="0">
                <a:latin typeface="Arial Narrow" pitchFamily="34" charset="0"/>
                <a:cs typeface="Arial" pitchFamily="34" charset="0"/>
              </a:rPr>
              <a:t>Апаттық</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қызмет</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ұйымына</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және</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қондырғының</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жұмысын</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бақылаушы</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диспетчерге</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талаптар</a:t>
            </a:r>
            <a:endParaRPr lang="x-none" sz="1200" b="1" dirty="0">
              <a:latin typeface="Arial Narrow" pitchFamily="34" charset="0"/>
              <a:cs typeface="Arial" pitchFamily="34" charset="0"/>
            </a:endParaRPr>
          </a:p>
        </p:txBody>
      </p:sp>
      <p:sp>
        <p:nvSpPr>
          <p:cNvPr id="27" name="Прямоугольник 26">
            <a:extLst>
              <a:ext uri="{FF2B5EF4-FFF2-40B4-BE49-F238E27FC236}">
                <a16:creationId xmlns="" xmlns:a16="http://schemas.microsoft.com/office/drawing/2014/main" id="{EB137F47-D5A9-4DD1-BD92-8A3AA677DDFF}"/>
              </a:ext>
            </a:extLst>
          </p:cNvPr>
          <p:cNvSpPr/>
          <p:nvPr/>
        </p:nvSpPr>
        <p:spPr>
          <a:xfrm>
            <a:off x="6462681" y="1300298"/>
            <a:ext cx="1349022" cy="646331"/>
          </a:xfrm>
          <a:prstGeom prst="rect">
            <a:avLst/>
          </a:prstGeom>
        </p:spPr>
        <p:txBody>
          <a:bodyPr wrap="square">
            <a:spAutoFit/>
          </a:bodyPr>
          <a:lstStyle/>
          <a:p>
            <a:pPr algn="ctr"/>
            <a:r>
              <a:rPr lang="ru-RU" sz="1200" b="1" dirty="0" err="1" smtClean="0">
                <a:latin typeface="Arial Narrow" pitchFamily="34" charset="0"/>
                <a:cs typeface="Arial" pitchFamily="34" charset="0"/>
              </a:rPr>
              <a:t>қабылдау</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және</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куәландыруға</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талаптар</a:t>
            </a:r>
            <a:endParaRPr lang="x-none" sz="1200" b="1" dirty="0">
              <a:latin typeface="Arial Narrow" pitchFamily="34" charset="0"/>
              <a:cs typeface="Arial" pitchFamily="34" charset="0"/>
            </a:endParaRPr>
          </a:p>
        </p:txBody>
      </p:sp>
      <p:sp>
        <p:nvSpPr>
          <p:cNvPr id="28" name="Прямоугольник 27">
            <a:extLst>
              <a:ext uri="{FF2B5EF4-FFF2-40B4-BE49-F238E27FC236}">
                <a16:creationId xmlns="" xmlns:a16="http://schemas.microsoft.com/office/drawing/2014/main" id="{57A3453F-1988-4B11-9E06-C79AA3931C41}"/>
              </a:ext>
            </a:extLst>
          </p:cNvPr>
          <p:cNvSpPr/>
          <p:nvPr/>
        </p:nvSpPr>
        <p:spPr>
          <a:xfrm>
            <a:off x="7815063" y="1313235"/>
            <a:ext cx="1349022" cy="830997"/>
          </a:xfrm>
          <a:prstGeom prst="rect">
            <a:avLst/>
          </a:prstGeom>
        </p:spPr>
        <p:txBody>
          <a:bodyPr wrap="square">
            <a:spAutoFit/>
          </a:bodyPr>
          <a:lstStyle/>
          <a:p>
            <a:pPr algn="ctr"/>
            <a:r>
              <a:rPr lang="ru-RU" sz="1200" b="1" dirty="0" err="1" smtClean="0">
                <a:latin typeface="Arial Narrow" pitchFamily="34" charset="0"/>
                <a:cs typeface="Arial" pitchFamily="34" charset="0"/>
              </a:rPr>
              <a:t>қондырғыны</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пайдалану</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қауіпсіздігіне</a:t>
            </a:r>
            <a:r>
              <a:rPr lang="ru-RU" sz="1200" b="1" dirty="0" smtClean="0">
                <a:latin typeface="Arial Narrow" pitchFamily="34" charset="0"/>
                <a:cs typeface="Arial" pitchFamily="34" charset="0"/>
              </a:rPr>
              <a:t> </a:t>
            </a:r>
            <a:r>
              <a:rPr lang="ru-RU" sz="1200" b="1" dirty="0" err="1" smtClean="0">
                <a:latin typeface="Arial Narrow" pitchFamily="34" charset="0"/>
                <a:cs typeface="Arial" pitchFamily="34" charset="0"/>
              </a:rPr>
              <a:t>талаптар</a:t>
            </a:r>
            <a:endParaRPr lang="x-none" sz="1200" b="1" dirty="0">
              <a:latin typeface="Arial Narrow" pitchFamily="34" charset="0"/>
              <a:cs typeface="Arial" pitchFamily="34" charset="0"/>
            </a:endParaRPr>
          </a:p>
        </p:txBody>
      </p:sp>
      <p:pic>
        <p:nvPicPr>
          <p:cNvPr id="29" name="Рисунок 28">
            <a:extLst>
              <a:ext uri="{FF2B5EF4-FFF2-40B4-BE49-F238E27FC236}">
                <a16:creationId xmlns="" xmlns:a16="http://schemas.microsoft.com/office/drawing/2014/main" id="{EFA3E63D-97A6-442C-ADAB-98BC32F4EB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00942" y="591719"/>
            <a:ext cx="696441" cy="696441"/>
          </a:xfrm>
          <a:prstGeom prst="rect">
            <a:avLst/>
          </a:prstGeom>
        </p:spPr>
      </p:pic>
      <p:pic>
        <p:nvPicPr>
          <p:cNvPr id="30" name="Рисунок 29" descr="Изображение выглядит как тарелка&#10;&#10;Описание создано с очень высокой степенью достоверности">
            <a:extLst>
              <a:ext uri="{FF2B5EF4-FFF2-40B4-BE49-F238E27FC236}">
                <a16:creationId xmlns="" xmlns:a16="http://schemas.microsoft.com/office/drawing/2014/main" id="{6B8BF06D-9DF2-4AB5-9106-4711A71F1C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53658" y="591719"/>
            <a:ext cx="696440" cy="696440"/>
          </a:xfrm>
          <a:prstGeom prst="rect">
            <a:avLst/>
          </a:prstGeom>
        </p:spPr>
      </p:pic>
      <p:pic>
        <p:nvPicPr>
          <p:cNvPr id="31" name="Рисунок 30">
            <a:extLst>
              <a:ext uri="{FF2B5EF4-FFF2-40B4-BE49-F238E27FC236}">
                <a16:creationId xmlns="" xmlns:a16="http://schemas.microsoft.com/office/drawing/2014/main" id="{B6628E30-8528-471D-9E18-8D000CFA5DF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8972" y="591722"/>
            <a:ext cx="696440" cy="696440"/>
          </a:xfrm>
          <a:prstGeom prst="rect">
            <a:avLst/>
          </a:prstGeom>
        </p:spPr>
      </p:pic>
      <p:pic>
        <p:nvPicPr>
          <p:cNvPr id="32" name="Рисунок 31">
            <a:extLst>
              <a:ext uri="{FF2B5EF4-FFF2-40B4-BE49-F238E27FC236}">
                <a16:creationId xmlns="" xmlns:a16="http://schemas.microsoft.com/office/drawing/2014/main" id="{F743D49F-30AE-4000-BB67-C99FA7BE792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18514" y="591720"/>
            <a:ext cx="696440" cy="696440"/>
          </a:xfrm>
          <a:prstGeom prst="rect">
            <a:avLst/>
          </a:prstGeom>
        </p:spPr>
      </p:pic>
      <p:pic>
        <p:nvPicPr>
          <p:cNvPr id="33" name="Рисунок 32">
            <a:extLst>
              <a:ext uri="{FF2B5EF4-FFF2-40B4-BE49-F238E27FC236}">
                <a16:creationId xmlns="" xmlns:a16="http://schemas.microsoft.com/office/drawing/2014/main" id="{37E675B3-6AA6-427D-A0B4-DDA0DDDEFC0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67188" y="591721"/>
            <a:ext cx="696441" cy="696441"/>
          </a:xfrm>
          <a:prstGeom prst="rect">
            <a:avLst/>
          </a:prstGeom>
        </p:spPr>
      </p:pic>
      <p:pic>
        <p:nvPicPr>
          <p:cNvPr id="34" name="Рисунок 33">
            <a:extLst>
              <a:ext uri="{FF2B5EF4-FFF2-40B4-BE49-F238E27FC236}">
                <a16:creationId xmlns="" xmlns:a16="http://schemas.microsoft.com/office/drawing/2014/main" id="{F4F42D6C-FDBD-4DDA-B842-D21DF70109E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3954" y="591721"/>
            <a:ext cx="696441" cy="696441"/>
          </a:xfrm>
          <a:prstGeom prst="rect">
            <a:avLst/>
          </a:prstGeom>
        </p:spPr>
      </p:pic>
      <p:sp>
        <p:nvSpPr>
          <p:cNvPr id="35" name="TextBox 34"/>
          <p:cNvSpPr txBox="1"/>
          <p:nvPr/>
        </p:nvSpPr>
        <p:spPr>
          <a:xfrm>
            <a:off x="89034" y="2307218"/>
            <a:ext cx="1340937" cy="1061829"/>
          </a:xfrm>
          <a:prstGeom prst="rect">
            <a:avLst/>
          </a:prstGeom>
          <a:noFill/>
          <a:ln w="6350">
            <a:solidFill>
              <a:schemeClr val="tx1"/>
            </a:solidFill>
          </a:ln>
        </p:spPr>
        <p:txBody>
          <a:bodyPr wrap="square" rtlCol="0">
            <a:spAutoFit/>
          </a:bodyPr>
          <a:lstStyle/>
          <a:p>
            <a:pPr algn="just"/>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кепіл</a:t>
            </a: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мерзімі</a:t>
            </a:r>
            <a:r>
              <a:rPr lang="ru-RU" sz="1050" dirty="0" smtClean="0">
                <a:latin typeface="Arial Narrow" pitchFamily="34" charset="0"/>
                <a:cs typeface="Arial" pitchFamily="34" charset="0"/>
              </a:rPr>
              <a:t> 3 </a:t>
            </a:r>
            <a:r>
              <a:rPr lang="ru-RU" sz="1050" dirty="0" err="1" smtClean="0">
                <a:latin typeface="Arial Narrow" pitchFamily="34" charset="0"/>
                <a:cs typeface="Arial" pitchFamily="34" charset="0"/>
              </a:rPr>
              <a:t>жылдан</a:t>
            </a:r>
            <a:r>
              <a:rPr lang="ru-RU" sz="1050" dirty="0" smtClean="0">
                <a:latin typeface="Arial Narrow" pitchFamily="34" charset="0"/>
                <a:cs typeface="Arial" pitchFamily="34" charset="0"/>
              </a:rPr>
              <a:t> кем </a:t>
            </a:r>
            <a:r>
              <a:rPr lang="ru-RU" sz="1050" dirty="0" err="1" smtClean="0">
                <a:latin typeface="Arial Narrow" pitchFamily="34" charset="0"/>
                <a:cs typeface="Arial" pitchFamily="34" charset="0"/>
              </a:rPr>
              <a:t>емес</a:t>
            </a:r>
            <a:endParaRPr lang="ru-RU" sz="1050" dirty="0" smtClean="0">
              <a:latin typeface="Arial Narrow" pitchFamily="34" charset="0"/>
              <a:cs typeface="Arial" pitchFamily="34" charset="0"/>
            </a:endParaRPr>
          </a:p>
          <a:p>
            <a:pPr algn="just">
              <a:buFontTx/>
              <a:buChar char="-"/>
            </a:pPr>
            <a:r>
              <a:rPr lang="kk-KZ" sz="1050" dirty="0" smtClean="0">
                <a:latin typeface="Arial Narrow" pitchFamily="34" charset="0"/>
                <a:cs typeface="Arial" pitchFamily="34" charset="0"/>
              </a:rPr>
              <a:t>  5 жыл бойы құраушы және запас бөлшектермен қамтамасыз ету</a:t>
            </a:r>
            <a:endParaRPr lang="ru-RU" sz="1050" dirty="0">
              <a:latin typeface="Arial Narrow" pitchFamily="34" charset="0"/>
              <a:cs typeface="Arial" pitchFamily="34" charset="0"/>
            </a:endParaRPr>
          </a:p>
        </p:txBody>
      </p:sp>
      <p:sp>
        <p:nvSpPr>
          <p:cNvPr id="36" name="TextBox 35"/>
          <p:cNvSpPr txBox="1"/>
          <p:nvPr/>
        </p:nvSpPr>
        <p:spPr>
          <a:xfrm>
            <a:off x="3062579" y="2321940"/>
            <a:ext cx="1616957" cy="1061829"/>
          </a:xfrm>
          <a:prstGeom prst="rect">
            <a:avLst/>
          </a:prstGeom>
          <a:noFill/>
          <a:ln w="6350" cap="rnd">
            <a:solidFill>
              <a:schemeClr val="tx1"/>
            </a:solidFill>
          </a:ln>
        </p:spPr>
        <p:txBody>
          <a:bodyPr wrap="square" rtlCol="0">
            <a:spAutoFit/>
          </a:bodyPr>
          <a:lstStyle/>
          <a:p>
            <a:pPr algn="just"/>
            <a:r>
              <a:rPr lang="kk-KZ" sz="1050" dirty="0" smtClean="0">
                <a:latin typeface="Arial Narrow" pitchFamily="34" charset="0"/>
                <a:cs typeface="Arial" pitchFamily="34" charset="0"/>
              </a:rPr>
              <a:t>- Қондырғыны жұмыс жағдайында күтіп ұстауды қамтамасыз ету</a:t>
            </a:r>
            <a:endParaRPr lang="ru-RU" sz="1050" dirty="0" smtClean="0">
              <a:latin typeface="Arial Narrow" pitchFamily="34" charset="0"/>
              <a:cs typeface="Arial" pitchFamily="34" charset="0"/>
            </a:endParaRPr>
          </a:p>
          <a:p>
            <a:pPr algn="just">
              <a:buFontTx/>
              <a:buChar char="-"/>
            </a:pP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тиісті</a:t>
            </a: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күтіп</a:t>
            </a: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ұстауды</a:t>
            </a: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және</a:t>
            </a: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жөндеуді</a:t>
            </a: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ұйымдастыру</a:t>
            </a:r>
            <a:endParaRPr lang="ru-RU" sz="1050" dirty="0" smtClean="0">
              <a:latin typeface="Arial Narrow" pitchFamily="34" charset="0"/>
              <a:cs typeface="Arial" pitchFamily="34" charset="0"/>
            </a:endParaRPr>
          </a:p>
          <a:p>
            <a:pPr algn="ctr">
              <a:buFontTx/>
              <a:buChar char="-"/>
            </a:pPr>
            <a:endParaRPr lang="ru-RU" sz="1050" dirty="0">
              <a:latin typeface="Arial Narrow" pitchFamily="34" charset="0"/>
              <a:cs typeface="Arial" pitchFamily="34" charset="0"/>
            </a:endParaRPr>
          </a:p>
        </p:txBody>
      </p:sp>
      <p:sp>
        <p:nvSpPr>
          <p:cNvPr id="37" name="TextBox 36"/>
          <p:cNvSpPr txBox="1"/>
          <p:nvPr/>
        </p:nvSpPr>
        <p:spPr>
          <a:xfrm>
            <a:off x="1540818" y="2313813"/>
            <a:ext cx="1410154" cy="738664"/>
          </a:xfrm>
          <a:prstGeom prst="rect">
            <a:avLst/>
          </a:prstGeom>
          <a:noFill/>
          <a:ln w="6350">
            <a:solidFill>
              <a:schemeClr val="tx1"/>
            </a:solidFill>
          </a:ln>
        </p:spPr>
        <p:txBody>
          <a:bodyPr wrap="square" rtlCol="0">
            <a:spAutoFit/>
          </a:bodyPr>
          <a:lstStyle/>
          <a:p>
            <a:pPr algn="just"/>
            <a:r>
              <a:rPr lang="kk-KZ" sz="1050" dirty="0" smtClean="0">
                <a:latin typeface="Arial Narrow" pitchFamily="34" charset="0"/>
                <a:cs typeface="Arial" pitchFamily="34" charset="0"/>
              </a:rPr>
              <a:t>- Білікті маман (электр қауіпсіздігі бойынша 3 топтан төмен емес электромеханиктер)</a:t>
            </a:r>
            <a:endParaRPr lang="ru-RU" sz="1050" dirty="0" smtClean="0">
              <a:latin typeface="Arial Narrow" pitchFamily="34" charset="0"/>
              <a:cs typeface="Arial" pitchFamily="34" charset="0"/>
            </a:endParaRPr>
          </a:p>
        </p:txBody>
      </p:sp>
      <p:sp>
        <p:nvSpPr>
          <p:cNvPr id="38" name="TextBox 37"/>
          <p:cNvSpPr txBox="1"/>
          <p:nvPr/>
        </p:nvSpPr>
        <p:spPr>
          <a:xfrm>
            <a:off x="4797788" y="2320712"/>
            <a:ext cx="1486419" cy="1223412"/>
          </a:xfrm>
          <a:prstGeom prst="rect">
            <a:avLst/>
          </a:prstGeom>
          <a:noFill/>
          <a:ln w="6350">
            <a:solidFill>
              <a:schemeClr val="tx1"/>
            </a:solidFill>
          </a:ln>
        </p:spPr>
        <p:txBody>
          <a:bodyPr wrap="square" rtlCol="0">
            <a:spAutoFit/>
          </a:bodyPr>
          <a:lstStyle/>
          <a:p>
            <a:pPr algn="just"/>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арнайы</a:t>
            </a: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байланыс</a:t>
            </a: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құралдарымен</a:t>
            </a:r>
            <a:r>
              <a:rPr lang="ru-RU" sz="1050" dirty="0" smtClean="0">
                <a:latin typeface="Arial Narrow" pitchFamily="34" charset="0"/>
                <a:cs typeface="Arial" pitchFamily="34" charset="0"/>
              </a:rPr>
              <a:t> </a:t>
            </a:r>
            <a:r>
              <a:rPr lang="ru-RU" sz="1050" dirty="0" err="1" smtClean="0">
                <a:latin typeface="Arial Narrow" pitchFamily="34" charset="0"/>
                <a:cs typeface="Arial" pitchFamily="34" charset="0"/>
              </a:rPr>
              <a:t>жабдықтау</a:t>
            </a:r>
            <a:r>
              <a:rPr lang="ru-RU" sz="1050" dirty="0" smtClean="0">
                <a:latin typeface="Arial Narrow" pitchFamily="34" charset="0"/>
                <a:cs typeface="Arial" pitchFamily="34" charset="0"/>
              </a:rPr>
              <a:t>                </a:t>
            </a:r>
          </a:p>
          <a:p>
            <a:pPr algn="just"/>
            <a:r>
              <a:rPr lang="ru-RU" sz="1050" dirty="0" smtClean="0">
                <a:latin typeface="Arial Narrow" pitchFamily="34" charset="0"/>
                <a:cs typeface="Arial" pitchFamily="34" charset="0"/>
              </a:rPr>
              <a:t>- </a:t>
            </a:r>
            <a:r>
              <a:rPr lang="kk-KZ" sz="1050" dirty="0" smtClean="0">
                <a:latin typeface="Arial Narrow" pitchFamily="34" charset="0"/>
                <a:cs typeface="Arial" pitchFamily="34" charset="0"/>
              </a:rPr>
              <a:t>Жолаушыларды 30 минут ішінде эвакуациялау мүмкіндігі</a:t>
            </a:r>
            <a:endParaRPr lang="ru-RU" sz="1050" dirty="0" smtClean="0">
              <a:latin typeface="Arial Narrow" pitchFamily="34" charset="0"/>
              <a:cs typeface="Arial" pitchFamily="34" charset="0"/>
            </a:endParaRPr>
          </a:p>
          <a:p>
            <a:pPr marL="171450" indent="-171450" algn="ctr">
              <a:buFontTx/>
              <a:buChar char="-"/>
            </a:pPr>
            <a:endParaRPr lang="ru-RU" sz="1050" dirty="0">
              <a:latin typeface="Arial Narrow" pitchFamily="34" charset="0"/>
              <a:cs typeface="Arial" pitchFamily="34" charset="0"/>
            </a:endParaRPr>
          </a:p>
        </p:txBody>
      </p:sp>
      <p:sp>
        <p:nvSpPr>
          <p:cNvPr id="39" name="TextBox 38"/>
          <p:cNvSpPr txBox="1"/>
          <p:nvPr/>
        </p:nvSpPr>
        <p:spPr>
          <a:xfrm>
            <a:off x="6376307" y="2314544"/>
            <a:ext cx="1502229" cy="1223412"/>
          </a:xfrm>
          <a:prstGeom prst="rect">
            <a:avLst/>
          </a:prstGeom>
          <a:noFill/>
          <a:ln w="6350">
            <a:solidFill>
              <a:schemeClr val="tx1"/>
            </a:solidFill>
          </a:ln>
        </p:spPr>
        <p:txBody>
          <a:bodyPr wrap="square" rtlCol="0">
            <a:spAutoFit/>
          </a:bodyPr>
          <a:lstStyle/>
          <a:p>
            <a:pPr algn="just"/>
            <a:r>
              <a:rPr lang="kk-KZ" sz="1050" dirty="0" smtClean="0">
                <a:latin typeface="Arial Narrow" pitchFamily="34" charset="0"/>
                <a:cs typeface="Arial" pitchFamily="34" charset="0"/>
              </a:rPr>
              <a:t>- Қайта қондырылған қондырғыны толықтай техникалық куәландырудан өткізу</a:t>
            </a:r>
            <a:endParaRPr lang="ru-RU" sz="1050" dirty="0" smtClean="0">
              <a:latin typeface="Arial Narrow" pitchFamily="34" charset="0"/>
              <a:cs typeface="Arial" pitchFamily="34" charset="0"/>
            </a:endParaRPr>
          </a:p>
          <a:p>
            <a:pPr algn="just">
              <a:buFontTx/>
              <a:buChar char="-"/>
            </a:pPr>
            <a:r>
              <a:rPr lang="kk-KZ" sz="1050" dirty="0" smtClean="0">
                <a:latin typeface="Arial Narrow" pitchFamily="34" charset="0"/>
                <a:cs typeface="Arial" pitchFamily="34" charset="0"/>
              </a:rPr>
              <a:t> Оларды жергілікті атқарушы органдарда есепке қою</a:t>
            </a:r>
            <a:endParaRPr lang="ru-RU" sz="1050" dirty="0">
              <a:latin typeface="Arial Narrow" pitchFamily="34" charset="0"/>
              <a:cs typeface="Arial" pitchFamily="34" charset="0"/>
            </a:endParaRPr>
          </a:p>
        </p:txBody>
      </p:sp>
      <p:sp>
        <p:nvSpPr>
          <p:cNvPr id="40" name="TextBox 39"/>
          <p:cNvSpPr txBox="1"/>
          <p:nvPr/>
        </p:nvSpPr>
        <p:spPr>
          <a:xfrm>
            <a:off x="7935957" y="2309102"/>
            <a:ext cx="1131843" cy="1384995"/>
          </a:xfrm>
          <a:prstGeom prst="rect">
            <a:avLst/>
          </a:prstGeom>
          <a:noFill/>
          <a:ln w="6350">
            <a:solidFill>
              <a:schemeClr val="tx1"/>
            </a:solidFill>
          </a:ln>
        </p:spPr>
        <p:txBody>
          <a:bodyPr wrap="square" rtlCol="0">
            <a:spAutoFit/>
          </a:bodyPr>
          <a:lstStyle/>
          <a:p>
            <a:pPr algn="just"/>
            <a:r>
              <a:rPr lang="kk-KZ" sz="1050" dirty="0" smtClean="0">
                <a:latin typeface="Arial Narrow" pitchFamily="34" charset="0"/>
                <a:cs typeface="Arial" pitchFamily="34" charset="0"/>
              </a:rPr>
              <a:t>- Қондырғыны тиісінше пайдалану</a:t>
            </a:r>
            <a:endParaRPr lang="ru-RU" sz="1050" dirty="0">
              <a:latin typeface="Arial Narrow" pitchFamily="34" charset="0"/>
              <a:cs typeface="Arial" pitchFamily="34" charset="0"/>
            </a:endParaRPr>
          </a:p>
          <a:p>
            <a:pPr algn="just">
              <a:buFontTx/>
              <a:buChar char="-"/>
            </a:pPr>
            <a:r>
              <a:rPr lang="kk-KZ" sz="1050" dirty="0" smtClean="0">
                <a:latin typeface="Arial Narrow" pitchFamily="34" charset="0"/>
                <a:cs typeface="Arial" pitchFamily="34" charset="0"/>
              </a:rPr>
              <a:t> Техникалық қызмет көрсету және жөндеу бойынша жұмыста жүргізу</a:t>
            </a:r>
            <a:endParaRPr lang="ru-RU" sz="1050" dirty="0">
              <a:latin typeface="Arial Narrow" pitchFamily="34" charset="0"/>
              <a:cs typeface="Arial" pitchFamily="34" charset="0"/>
            </a:endParaRPr>
          </a:p>
        </p:txBody>
      </p:sp>
      <p:sp>
        <p:nvSpPr>
          <p:cNvPr id="42" name="Стрелка вниз 41"/>
          <p:cNvSpPr/>
          <p:nvPr/>
        </p:nvSpPr>
        <p:spPr>
          <a:xfrm>
            <a:off x="3740438" y="2132138"/>
            <a:ext cx="118120" cy="1197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latin typeface="Arial Narrow" pitchFamily="34" charset="0"/>
              <a:cs typeface="Arial" pitchFamily="34" charset="0"/>
            </a:endParaRPr>
          </a:p>
        </p:txBody>
      </p:sp>
      <p:sp>
        <p:nvSpPr>
          <p:cNvPr id="43" name="Стрелка вниз 42"/>
          <p:cNvSpPr/>
          <p:nvPr/>
        </p:nvSpPr>
        <p:spPr>
          <a:xfrm>
            <a:off x="612774" y="2123974"/>
            <a:ext cx="118120" cy="1197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latin typeface="Arial Narrow" pitchFamily="34" charset="0"/>
              <a:cs typeface="Arial" pitchFamily="34" charset="0"/>
            </a:endParaRPr>
          </a:p>
        </p:txBody>
      </p:sp>
      <p:sp>
        <p:nvSpPr>
          <p:cNvPr id="44" name="Стрелка вниз 43"/>
          <p:cNvSpPr/>
          <p:nvPr/>
        </p:nvSpPr>
        <p:spPr>
          <a:xfrm>
            <a:off x="2067570" y="2116091"/>
            <a:ext cx="118120" cy="1197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latin typeface="Arial Narrow" pitchFamily="34" charset="0"/>
              <a:cs typeface="Arial" pitchFamily="34" charset="0"/>
            </a:endParaRPr>
          </a:p>
        </p:txBody>
      </p:sp>
      <p:sp>
        <p:nvSpPr>
          <p:cNvPr id="45" name="Стрелка вниз 44"/>
          <p:cNvSpPr/>
          <p:nvPr/>
        </p:nvSpPr>
        <p:spPr>
          <a:xfrm>
            <a:off x="5498266" y="2137666"/>
            <a:ext cx="118120" cy="1197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latin typeface="Arial Narrow" pitchFamily="34" charset="0"/>
              <a:cs typeface="Arial" pitchFamily="34" charset="0"/>
            </a:endParaRPr>
          </a:p>
        </p:txBody>
      </p:sp>
      <p:sp>
        <p:nvSpPr>
          <p:cNvPr id="55" name="Стрелка вниз 54"/>
          <p:cNvSpPr/>
          <p:nvPr/>
        </p:nvSpPr>
        <p:spPr>
          <a:xfrm>
            <a:off x="7094460" y="2137412"/>
            <a:ext cx="118120" cy="1197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latin typeface="Arial Narrow" pitchFamily="34" charset="0"/>
              <a:cs typeface="Arial" pitchFamily="34" charset="0"/>
            </a:endParaRPr>
          </a:p>
        </p:txBody>
      </p:sp>
      <p:sp>
        <p:nvSpPr>
          <p:cNvPr id="56" name="Стрелка вниз 55"/>
          <p:cNvSpPr/>
          <p:nvPr/>
        </p:nvSpPr>
        <p:spPr>
          <a:xfrm>
            <a:off x="8430514" y="2132160"/>
            <a:ext cx="118120" cy="11973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latin typeface="Arial Narrow" pitchFamily="34" charset="0"/>
              <a:cs typeface="Arial" pitchFamily="34" charset="0"/>
            </a:endParaRPr>
          </a:p>
        </p:txBody>
      </p:sp>
      <p:sp>
        <p:nvSpPr>
          <p:cNvPr id="58" name="Прямоугольник: скругленные углы 1">
            <a:extLst>
              <a:ext uri="{FF2B5EF4-FFF2-40B4-BE49-F238E27FC236}">
                <a16:creationId xmlns:a16="http://schemas.microsoft.com/office/drawing/2014/main" xmlns="" id="{488FD960-8187-4BF1-83B9-5C66462C2C60}"/>
              </a:ext>
            </a:extLst>
          </p:cNvPr>
          <p:cNvSpPr/>
          <p:nvPr/>
        </p:nvSpPr>
        <p:spPr>
          <a:xfrm>
            <a:off x="460375" y="3914775"/>
            <a:ext cx="8207376" cy="341403"/>
          </a:xfrm>
          <a:prstGeom prst="roundRect">
            <a:avLst/>
          </a:prstGeom>
          <a:solidFill>
            <a:schemeClr val="accent5">
              <a:lumMod val="40000"/>
              <a:lumOff val="6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k-KZ" sz="1600" b="1" dirty="0" smtClean="0">
                <a:solidFill>
                  <a:schemeClr val="accent1">
                    <a:lumMod val="50000"/>
                  </a:schemeClr>
                </a:solidFill>
                <a:latin typeface="Arial Narrow" pitchFamily="34" charset="0"/>
                <a:cs typeface="Arial" pitchFamily="34" charset="0"/>
              </a:rPr>
              <a:t>2014 жылғы 11 сәуірдегі «Азаматтық қорғау туралы» Қазақстан Республикасының Заңы</a:t>
            </a:r>
            <a:endParaRPr lang="ru-RU" sz="1600" b="1" dirty="0">
              <a:solidFill>
                <a:schemeClr val="accent1">
                  <a:lumMod val="50000"/>
                </a:schemeClr>
              </a:solidFill>
              <a:latin typeface="Arial Narrow" pitchFamily="34" charset="0"/>
              <a:cs typeface="Arial" pitchFamily="34" charset="0"/>
            </a:endParaRPr>
          </a:p>
        </p:txBody>
      </p:sp>
      <p:sp>
        <p:nvSpPr>
          <p:cNvPr id="59" name="Прямоугольник: скругленные углы 32">
            <a:extLst>
              <a:ext uri="{FF2B5EF4-FFF2-40B4-BE49-F238E27FC236}">
                <a16:creationId xmlns:a16="http://schemas.microsoft.com/office/drawing/2014/main" xmlns="" id="{44186005-82CE-48B0-BE02-2E8D16E48027}"/>
              </a:ext>
            </a:extLst>
          </p:cNvPr>
          <p:cNvSpPr/>
          <p:nvPr/>
        </p:nvSpPr>
        <p:spPr>
          <a:xfrm>
            <a:off x="2468149" y="4531016"/>
            <a:ext cx="4190210" cy="231665"/>
          </a:xfrm>
          <a:prstGeom prst="roundRect">
            <a:avLst/>
          </a:prstGeom>
          <a:solidFill>
            <a:schemeClr val="accent5">
              <a:lumMod val="40000"/>
              <a:lumOff val="6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solidFill>
                  <a:schemeClr val="accent1">
                    <a:lumMod val="50000"/>
                  </a:schemeClr>
                </a:solidFill>
                <a:latin typeface="Arial Narrow" pitchFamily="34" charset="0"/>
                <a:cs typeface="Arial" pitchFamily="34" charset="0"/>
              </a:rPr>
              <a:t>69 </a:t>
            </a:r>
            <a:r>
              <a:rPr lang="ru-RU" sz="1100" dirty="0" err="1" smtClean="0">
                <a:solidFill>
                  <a:schemeClr val="accent1">
                    <a:lumMod val="50000"/>
                  </a:schemeClr>
                </a:solidFill>
                <a:latin typeface="Arial Narrow" pitchFamily="34" charset="0"/>
                <a:cs typeface="Arial" pitchFamily="34" charset="0"/>
              </a:rPr>
              <a:t>бап</a:t>
            </a:r>
            <a:r>
              <a:rPr lang="ru-RU" sz="1100" dirty="0" smtClean="0">
                <a:solidFill>
                  <a:schemeClr val="accent1">
                    <a:lumMod val="50000"/>
                  </a:schemeClr>
                </a:solidFill>
                <a:latin typeface="Arial Narrow" pitchFamily="34" charset="0"/>
                <a:cs typeface="Arial" pitchFamily="34" charset="0"/>
              </a:rPr>
              <a:t>. </a:t>
            </a:r>
            <a:r>
              <a:rPr lang="ru-RU" sz="1100" b="1" dirty="0" err="1" smtClean="0">
                <a:solidFill>
                  <a:schemeClr val="accent1">
                    <a:lumMod val="50000"/>
                  </a:schemeClr>
                </a:solidFill>
                <a:latin typeface="Arial Narrow" pitchFamily="34" charset="0"/>
                <a:cs typeface="Arial" pitchFamily="34" charset="0"/>
              </a:rPr>
              <a:t>Өнеркәсіптік</a:t>
            </a:r>
            <a:r>
              <a:rPr lang="ru-RU" sz="1100" b="1" dirty="0" smtClean="0">
                <a:solidFill>
                  <a:schemeClr val="accent1">
                    <a:lumMod val="50000"/>
                  </a:schemeClr>
                </a:solidFill>
                <a:latin typeface="Arial Narrow" pitchFamily="34" charset="0"/>
                <a:cs typeface="Arial" pitchFamily="34" charset="0"/>
              </a:rPr>
              <a:t> </a:t>
            </a:r>
            <a:r>
              <a:rPr lang="ru-RU" sz="1100" b="1" dirty="0" err="1" smtClean="0">
                <a:solidFill>
                  <a:schemeClr val="accent1">
                    <a:lumMod val="50000"/>
                  </a:schemeClr>
                </a:solidFill>
                <a:latin typeface="Arial Narrow" pitchFamily="34" charset="0"/>
                <a:cs typeface="Arial" pitchFamily="34" charset="0"/>
              </a:rPr>
              <a:t>қауіпсіздікті</a:t>
            </a:r>
            <a:r>
              <a:rPr lang="ru-RU" sz="1100" b="1" dirty="0" smtClean="0">
                <a:solidFill>
                  <a:schemeClr val="accent1">
                    <a:lumMod val="50000"/>
                  </a:schemeClr>
                </a:solidFill>
                <a:latin typeface="Arial Narrow" pitchFamily="34" charset="0"/>
                <a:cs typeface="Arial" pitchFamily="34" charset="0"/>
              </a:rPr>
              <a:t> </a:t>
            </a:r>
            <a:r>
              <a:rPr lang="ru-RU" sz="1100" b="1" dirty="0" err="1" smtClean="0">
                <a:solidFill>
                  <a:schemeClr val="accent1">
                    <a:lumMod val="50000"/>
                  </a:schemeClr>
                </a:solidFill>
                <a:latin typeface="Arial Narrow" pitchFamily="34" charset="0"/>
                <a:cs typeface="Arial" pitchFamily="34" charset="0"/>
              </a:rPr>
              <a:t>қамтамасыз</a:t>
            </a:r>
            <a:r>
              <a:rPr lang="ru-RU" sz="1100" b="1" dirty="0" smtClean="0">
                <a:solidFill>
                  <a:schemeClr val="accent1">
                    <a:lumMod val="50000"/>
                  </a:schemeClr>
                </a:solidFill>
                <a:latin typeface="Arial Narrow" pitchFamily="34" charset="0"/>
                <a:cs typeface="Arial" pitchFamily="34" charset="0"/>
              </a:rPr>
              <a:t> </a:t>
            </a:r>
            <a:r>
              <a:rPr lang="ru-RU" sz="1100" b="1" dirty="0" err="1" smtClean="0">
                <a:solidFill>
                  <a:schemeClr val="accent1">
                    <a:lumMod val="50000"/>
                  </a:schemeClr>
                </a:solidFill>
                <a:latin typeface="Arial Narrow" pitchFamily="34" charset="0"/>
                <a:cs typeface="Arial" pitchFamily="34" charset="0"/>
              </a:rPr>
              <a:t>ету</a:t>
            </a:r>
            <a:endParaRPr lang="ru-RU" sz="1100" b="1" dirty="0">
              <a:solidFill>
                <a:schemeClr val="accent1">
                  <a:lumMod val="50000"/>
                </a:schemeClr>
              </a:solidFill>
              <a:latin typeface="Arial Narrow" pitchFamily="34" charset="0"/>
              <a:cs typeface="Arial" pitchFamily="34" charset="0"/>
            </a:endParaRPr>
          </a:p>
        </p:txBody>
      </p:sp>
      <p:sp>
        <p:nvSpPr>
          <p:cNvPr id="61" name="Прямоугольник: скругленные углы 34">
            <a:extLst>
              <a:ext uri="{FF2B5EF4-FFF2-40B4-BE49-F238E27FC236}">
                <a16:creationId xmlns:a16="http://schemas.microsoft.com/office/drawing/2014/main" xmlns="" id="{F1B501C6-F061-4824-BEBD-C99D6062CD4E}"/>
              </a:ext>
            </a:extLst>
          </p:cNvPr>
          <p:cNvSpPr/>
          <p:nvPr/>
        </p:nvSpPr>
        <p:spPr>
          <a:xfrm>
            <a:off x="1368684" y="4999417"/>
            <a:ext cx="6386637" cy="1089191"/>
          </a:xfrm>
          <a:prstGeom prst="roundRect">
            <a:avLst>
              <a:gd name="adj" fmla="val 4982"/>
            </a:avLst>
          </a:prstGeom>
          <a:solidFill>
            <a:schemeClr val="accent5">
              <a:lumMod val="40000"/>
              <a:lumOff val="6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sz="1200" kern="100" dirty="0">
                <a:solidFill>
                  <a:schemeClr val="accent1">
                    <a:lumMod val="50000"/>
                  </a:schemeClr>
                </a:solidFill>
                <a:latin typeface="Arial Narrow" pitchFamily="34" charset="0"/>
                <a:cs typeface="Arial" pitchFamily="34" charset="0"/>
              </a:rPr>
              <a:t>2. </a:t>
            </a:r>
            <a:r>
              <a:rPr lang="ru-RU" sz="1200" kern="100" dirty="0" err="1" smtClean="0">
                <a:solidFill>
                  <a:schemeClr val="accent1">
                    <a:lumMod val="50000"/>
                  </a:schemeClr>
                </a:solidFill>
                <a:latin typeface="Arial Narrow" pitchFamily="34" charset="0"/>
                <a:cs typeface="Arial" pitchFamily="34" charset="0"/>
              </a:rPr>
              <a:t>Өнеркәсіптік</a:t>
            </a:r>
            <a:r>
              <a:rPr lang="ru-RU" sz="1200" kern="100" dirty="0" smtClean="0">
                <a:solidFill>
                  <a:schemeClr val="accent1">
                    <a:lumMod val="50000"/>
                  </a:schemeClr>
                </a:solidFill>
                <a:latin typeface="Arial Narrow" pitchFamily="34" charset="0"/>
                <a:cs typeface="Arial" pitchFamily="34" charset="0"/>
              </a:rPr>
              <a:t> </a:t>
            </a:r>
            <a:r>
              <a:rPr lang="ru-RU" sz="1200" kern="100" dirty="0" err="1" smtClean="0">
                <a:solidFill>
                  <a:schemeClr val="accent1">
                    <a:lumMod val="50000"/>
                  </a:schemeClr>
                </a:solidFill>
                <a:latin typeface="Arial Narrow" pitchFamily="34" charset="0"/>
                <a:cs typeface="Arial" pitchFamily="34" charset="0"/>
              </a:rPr>
              <a:t>қауіпсіздік</a:t>
            </a:r>
            <a:r>
              <a:rPr lang="ru-RU" sz="1200" kern="100" dirty="0" smtClean="0">
                <a:solidFill>
                  <a:schemeClr val="accent1">
                    <a:lumMod val="50000"/>
                  </a:schemeClr>
                </a:solidFill>
                <a:latin typeface="Arial Narrow" pitchFamily="34" charset="0"/>
                <a:cs typeface="Arial" pitchFamily="34" charset="0"/>
              </a:rPr>
              <a:t> </a:t>
            </a:r>
            <a:r>
              <a:rPr lang="ru-RU" sz="1200" kern="100" dirty="0" err="1" smtClean="0">
                <a:solidFill>
                  <a:schemeClr val="accent1">
                    <a:lumMod val="50000"/>
                  </a:schemeClr>
                </a:solidFill>
                <a:latin typeface="Arial Narrow" pitchFamily="34" charset="0"/>
                <a:cs typeface="Arial" pitchFamily="34" charset="0"/>
              </a:rPr>
              <a:t>қамтамасыз</a:t>
            </a:r>
            <a:r>
              <a:rPr lang="ru-RU" sz="1200" kern="100" dirty="0" smtClean="0">
                <a:solidFill>
                  <a:schemeClr val="accent1">
                    <a:lumMod val="50000"/>
                  </a:schemeClr>
                </a:solidFill>
                <a:latin typeface="Arial Narrow" pitchFamily="34" charset="0"/>
                <a:cs typeface="Arial" pitchFamily="34" charset="0"/>
              </a:rPr>
              <a:t> </a:t>
            </a:r>
            <a:r>
              <a:rPr lang="ru-RU" sz="1200" kern="100" dirty="0" err="1" smtClean="0">
                <a:solidFill>
                  <a:schemeClr val="accent1">
                    <a:lumMod val="50000"/>
                  </a:schemeClr>
                </a:solidFill>
                <a:latin typeface="Arial Narrow" pitchFamily="34" charset="0"/>
                <a:cs typeface="Arial" pitchFamily="34" charset="0"/>
              </a:rPr>
              <a:t>етіледі</a:t>
            </a:r>
            <a:r>
              <a:rPr lang="ru-RU" sz="1200" kern="100" dirty="0" smtClean="0">
                <a:solidFill>
                  <a:schemeClr val="accent1">
                    <a:lumMod val="50000"/>
                  </a:schemeClr>
                </a:solidFill>
                <a:latin typeface="Arial Narrow" pitchFamily="34" charset="0"/>
                <a:cs typeface="Arial" pitchFamily="34" charset="0"/>
              </a:rPr>
              <a:t>:</a:t>
            </a:r>
          </a:p>
          <a:p>
            <a:pPr algn="just"/>
            <a:r>
              <a:rPr lang="ru-RU" sz="1200" b="1" kern="100" dirty="0" smtClean="0">
                <a:solidFill>
                  <a:schemeClr val="accent1">
                    <a:lumMod val="50000"/>
                  </a:schemeClr>
                </a:solidFill>
                <a:latin typeface="Arial Narrow" pitchFamily="34" charset="0"/>
                <a:cs typeface="Arial" pitchFamily="34" charset="0"/>
              </a:rPr>
              <a:t>…</a:t>
            </a:r>
          </a:p>
          <a:p>
            <a:pPr algn="just"/>
            <a:r>
              <a:rPr lang="ru-RU" sz="1200" b="1" kern="100" dirty="0" smtClean="0">
                <a:solidFill>
                  <a:srgbClr val="FF0000"/>
                </a:solidFill>
                <a:latin typeface="Arial Narrow" pitchFamily="34" charset="0"/>
                <a:cs typeface="Arial" pitchFamily="34" charset="0"/>
              </a:rPr>
              <a:t>10)</a:t>
            </a:r>
            <a:r>
              <a:rPr lang="ru-RU" sz="1200" b="1" kern="100" dirty="0" smtClean="0">
                <a:solidFill>
                  <a:schemeClr val="accent1">
                    <a:lumMod val="50000"/>
                  </a:schemeClr>
                </a:solidFill>
                <a:latin typeface="Arial Narrow" pitchFamily="34" charset="0"/>
                <a:cs typeface="Arial" pitchFamily="34" charset="0"/>
              </a:rPr>
              <a:t> </a:t>
            </a:r>
            <a:r>
              <a:rPr lang="kk-KZ" sz="1200" b="1" kern="100" dirty="0" smtClean="0">
                <a:solidFill>
                  <a:srgbClr val="FF0000"/>
                </a:solidFill>
                <a:latin typeface="Arial Narrow" pitchFamily="34" charset="0"/>
                <a:cs typeface="Arial" pitchFamily="34" charset="0"/>
              </a:rPr>
              <a:t>лифтілерді, эскалаторларды, траволаторларды және мүмкіндігі шектеулі адамдар үшін көтергіштерді </a:t>
            </a:r>
            <a:r>
              <a:rPr lang="kk-KZ" sz="1200" b="1" kern="100" dirty="0" smtClean="0">
                <a:solidFill>
                  <a:schemeClr val="accent1">
                    <a:lumMod val="50000"/>
                  </a:schemeClr>
                </a:solidFill>
                <a:latin typeface="Arial Narrow" pitchFamily="34" charset="0"/>
                <a:cs typeface="Arial" pitchFamily="34" charset="0"/>
              </a:rPr>
              <a:t>жеткізу, жөндеу жүргізу, пайдалану, техникалық қызмет көрсету, техникалық куәландыру ұлттық стандартқа сәйкес қамтамасыз етілу қажет.</a:t>
            </a:r>
            <a:endParaRPr lang="ru-RU" sz="1200" b="1" kern="100" dirty="0">
              <a:solidFill>
                <a:schemeClr val="accent1">
                  <a:lumMod val="50000"/>
                </a:schemeClr>
              </a:solidFill>
              <a:latin typeface="Arial Narrow" pitchFamily="34" charset="0"/>
              <a:cs typeface="Arial" pitchFamily="34" charset="0"/>
            </a:endParaRPr>
          </a:p>
        </p:txBody>
      </p:sp>
      <p:sp>
        <p:nvSpPr>
          <p:cNvPr id="62" name="Стрелка вниз 61"/>
          <p:cNvSpPr/>
          <p:nvPr/>
        </p:nvSpPr>
        <p:spPr>
          <a:xfrm>
            <a:off x="4361084" y="4294280"/>
            <a:ext cx="401841" cy="236736"/>
          </a:xfrm>
          <a:prstGeom prst="downArrow">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latin typeface="Arial Narrow" pitchFamily="34" charset="0"/>
            </a:endParaRPr>
          </a:p>
        </p:txBody>
      </p:sp>
      <p:sp>
        <p:nvSpPr>
          <p:cNvPr id="68" name="Стрелка вниз 67"/>
          <p:cNvSpPr/>
          <p:nvPr/>
        </p:nvSpPr>
        <p:spPr>
          <a:xfrm>
            <a:off x="4361083" y="4762681"/>
            <a:ext cx="401841" cy="236736"/>
          </a:xfrm>
          <a:prstGeom prst="downArrow">
            <a:avLst/>
          </a:prstGeom>
          <a:solidFill>
            <a:schemeClr val="accent5">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latin typeface="Arial Narrow" pitchFamily="34" charset="0"/>
            </a:endParaRPr>
          </a:p>
        </p:txBody>
      </p:sp>
      <p:sp>
        <p:nvSpPr>
          <p:cNvPr id="46" name="Номер слайда 2"/>
          <p:cNvSpPr>
            <a:spLocks noGrp="1"/>
          </p:cNvSpPr>
          <p:nvPr>
            <p:ph type="sldNum" sz="quarter" idx="12"/>
          </p:nvPr>
        </p:nvSpPr>
        <p:spPr>
          <a:xfrm>
            <a:off x="8667751" y="6356351"/>
            <a:ext cx="361949" cy="365125"/>
          </a:xfrm>
        </p:spPr>
        <p:txBody>
          <a:bodyPr/>
          <a:lstStyle/>
          <a:p>
            <a:fld id="{5B7F4A50-1F8C-475C-94C6-2D50DD7E8F1E}" type="slidenum">
              <a:rPr lang="en-US" sz="1050" smtClean="0">
                <a:solidFill>
                  <a:schemeClr val="tx1"/>
                </a:solidFill>
              </a:rPr>
              <a:t>12</a:t>
            </a:fld>
            <a:endParaRPr lang="en-US" sz="1050" dirty="0">
              <a:solidFill>
                <a:schemeClr val="tx1"/>
              </a:solidFill>
            </a:endParaRPr>
          </a:p>
        </p:txBody>
      </p:sp>
      <p:sp>
        <p:nvSpPr>
          <p:cNvPr id="47" name="Прямоугольник 46"/>
          <p:cNvSpPr/>
          <p:nvPr/>
        </p:nvSpPr>
        <p:spPr>
          <a:xfrm>
            <a:off x="1114772" y="6372227"/>
            <a:ext cx="6876703" cy="342900"/>
          </a:xfrm>
          <a:prstGeom prst="rect">
            <a:avLst/>
          </a:prstGeom>
          <a:noFill/>
          <a:ln w="3175">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i="1" dirty="0" smtClean="0">
                <a:solidFill>
                  <a:schemeClr val="tx2"/>
                </a:solidFill>
                <a:latin typeface="Arial" pitchFamily="34" charset="0"/>
                <a:cs typeface="Arial" pitchFamily="34" charset="0"/>
              </a:rPr>
              <a:t>       - </a:t>
            </a:r>
            <a:r>
              <a:rPr lang="ru-RU" sz="1200" b="1" i="1" dirty="0" err="1" smtClean="0">
                <a:solidFill>
                  <a:schemeClr val="tx2"/>
                </a:solidFill>
                <a:latin typeface="Arial" pitchFamily="34" charset="0"/>
                <a:cs typeface="Arial" pitchFamily="34" charset="0"/>
              </a:rPr>
              <a:t>стандарттын</a:t>
            </a:r>
            <a:r>
              <a:rPr lang="ru-RU" sz="1200" b="1" i="1" dirty="0" smtClean="0">
                <a:solidFill>
                  <a:schemeClr val="tx2"/>
                </a:solidFill>
                <a:latin typeface="Arial" pitchFamily="34" charset="0"/>
                <a:cs typeface="Arial" pitchFamily="34" charset="0"/>
              </a:rPr>
              <a:t> </a:t>
            </a:r>
            <a:r>
              <a:rPr lang="ru-RU" sz="1200" b="1" i="1" dirty="0" err="1" smtClean="0">
                <a:solidFill>
                  <a:schemeClr val="tx2"/>
                </a:solidFill>
                <a:latin typeface="Arial" pitchFamily="34" charset="0"/>
                <a:cs typeface="Arial" pitchFamily="34" charset="0"/>
              </a:rPr>
              <a:t>міндетті</a:t>
            </a:r>
            <a:r>
              <a:rPr lang="ru-RU" sz="1200" b="1" i="1" dirty="0" smtClean="0">
                <a:solidFill>
                  <a:schemeClr val="tx2"/>
                </a:solidFill>
                <a:latin typeface="Arial" pitchFamily="34" charset="0"/>
                <a:cs typeface="Arial" pitchFamily="34" charset="0"/>
              </a:rPr>
              <a:t> </a:t>
            </a:r>
            <a:r>
              <a:rPr lang="ru-RU" sz="1200" b="1" i="1" dirty="0" err="1" smtClean="0">
                <a:solidFill>
                  <a:schemeClr val="tx2"/>
                </a:solidFill>
                <a:latin typeface="Arial" pitchFamily="34" charset="0"/>
                <a:cs typeface="Arial" pitchFamily="34" charset="0"/>
              </a:rPr>
              <a:t>қолданылуын</a:t>
            </a:r>
            <a:r>
              <a:rPr lang="ru-RU" sz="1200" b="1" i="1" dirty="0" smtClean="0">
                <a:solidFill>
                  <a:schemeClr val="tx2"/>
                </a:solidFill>
                <a:latin typeface="Arial" pitchFamily="34" charset="0"/>
                <a:cs typeface="Arial" pitchFamily="34" charset="0"/>
              </a:rPr>
              <a:t>  </a:t>
            </a:r>
            <a:r>
              <a:rPr lang="ru-RU" sz="1200" b="1" i="1" dirty="0" err="1" smtClean="0">
                <a:solidFill>
                  <a:schemeClr val="tx2"/>
                </a:solidFill>
                <a:latin typeface="Arial" pitchFamily="34" charset="0"/>
                <a:cs typeface="Arial" pitchFamily="34" charset="0"/>
              </a:rPr>
              <a:t>қамтамасыз</a:t>
            </a:r>
            <a:r>
              <a:rPr lang="ru-RU" sz="1200" b="1" i="1" dirty="0" smtClean="0">
                <a:solidFill>
                  <a:schemeClr val="tx2"/>
                </a:solidFill>
                <a:latin typeface="Arial" pitchFamily="34" charset="0"/>
                <a:cs typeface="Arial" pitchFamily="34" charset="0"/>
              </a:rPr>
              <a:t> </a:t>
            </a:r>
            <a:r>
              <a:rPr lang="ru-RU" sz="1200" b="1" i="1" dirty="0" err="1" smtClean="0">
                <a:solidFill>
                  <a:schemeClr val="tx2"/>
                </a:solidFill>
                <a:latin typeface="Arial" pitchFamily="34" charset="0"/>
                <a:cs typeface="Arial" pitchFamily="34" charset="0"/>
              </a:rPr>
              <a:t>ету</a:t>
            </a:r>
            <a:r>
              <a:rPr lang="ru-RU" sz="1200" b="1" i="1" dirty="0" smtClean="0">
                <a:solidFill>
                  <a:schemeClr val="tx2"/>
                </a:solidFill>
                <a:latin typeface="Arial" pitchFamily="34" charset="0"/>
                <a:cs typeface="Arial" pitchFamily="34" charset="0"/>
              </a:rPr>
              <a:t> </a:t>
            </a:r>
            <a:r>
              <a:rPr lang="ru-RU" sz="1200" b="1" i="1" dirty="0" err="1" smtClean="0">
                <a:solidFill>
                  <a:schemeClr val="tx2"/>
                </a:solidFill>
                <a:latin typeface="Arial" pitchFamily="34" charset="0"/>
                <a:cs typeface="Arial" pitchFamily="34" charset="0"/>
              </a:rPr>
              <a:t>мақсатында</a:t>
            </a:r>
            <a:r>
              <a:rPr lang="ru-RU" sz="1200" b="1" i="1" dirty="0" smtClean="0">
                <a:solidFill>
                  <a:schemeClr val="tx2"/>
                </a:solidFill>
                <a:latin typeface="Arial" pitchFamily="34" charset="0"/>
                <a:cs typeface="Arial" pitchFamily="34" charset="0"/>
              </a:rPr>
              <a:t> </a:t>
            </a:r>
            <a:endParaRPr lang="ru-RU" sz="1200" b="1" i="1" dirty="0">
              <a:solidFill>
                <a:schemeClr val="tx2"/>
              </a:solidFill>
              <a:latin typeface="Arial" pitchFamily="34" charset="0"/>
              <a:cs typeface="Arial" pitchFamily="34" charset="0"/>
            </a:endParaRPr>
          </a:p>
        </p:txBody>
      </p:sp>
      <p:sp>
        <p:nvSpPr>
          <p:cNvPr id="48" name="Прямоугольник 47"/>
          <p:cNvSpPr/>
          <p:nvPr/>
        </p:nvSpPr>
        <p:spPr>
          <a:xfrm>
            <a:off x="1550813" y="6485248"/>
            <a:ext cx="248820" cy="17145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17407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1000" fill="hold"/>
                                        <p:tgtEl>
                                          <p:spTgt spid="41"/>
                                        </p:tgtEl>
                                        <p:attrNameLst>
                                          <p:attrName>ppt_w</p:attrName>
                                        </p:attrNameLst>
                                      </p:cBhvr>
                                      <p:tavLst>
                                        <p:tav tm="0">
                                          <p:val>
                                            <p:fltVal val="0"/>
                                          </p:val>
                                        </p:tav>
                                        <p:tav tm="100000">
                                          <p:val>
                                            <p:strVal val="#ppt_w"/>
                                          </p:val>
                                        </p:tav>
                                      </p:tavLst>
                                    </p:anim>
                                    <p:anim calcmode="lin" valueType="num">
                                      <p:cBhvr>
                                        <p:cTn id="8" dur="1000" fill="hold"/>
                                        <p:tgtEl>
                                          <p:spTgt spid="41"/>
                                        </p:tgtEl>
                                        <p:attrNameLst>
                                          <p:attrName>ppt_h</p:attrName>
                                        </p:attrNameLst>
                                      </p:cBhvr>
                                      <p:tavLst>
                                        <p:tav tm="0">
                                          <p:val>
                                            <p:fltVal val="0"/>
                                          </p:val>
                                        </p:tav>
                                        <p:tav tm="100000">
                                          <p:val>
                                            <p:strVal val="#ppt_h"/>
                                          </p:val>
                                        </p:tav>
                                      </p:tavLst>
                                    </p:anim>
                                    <p:animEffect transition="in" filter="fade">
                                      <p:cBhvr>
                                        <p:cTn id="9"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AutoShape 4" descr="https://scrproperty.net/wp-content/uploads/sites/30/2014/05/buying-property-checklist.jpg"/>
          <p:cNvSpPr>
            <a:spLocks noChangeAspect="1" noChangeArrowheads="1"/>
          </p:cNvSpPr>
          <p:nvPr/>
        </p:nvSpPr>
        <p:spPr bwMode="auto">
          <a:xfrm>
            <a:off x="155575" y="-192617"/>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 name="AutoShape 6" descr="https://scrproperty.net/wp-content/uploads/sites/30/2014/05/buying-property-checklist.jpg"/>
          <p:cNvSpPr>
            <a:spLocks noChangeAspect="1" noChangeArrowheads="1"/>
          </p:cNvSpPr>
          <p:nvPr/>
        </p:nvSpPr>
        <p:spPr bwMode="auto">
          <a:xfrm>
            <a:off x="307975" y="10584"/>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 name="AutoShape 8" descr="https://scrproperty.net/wp-content/uploads/sites/30/2014/05/buying-property-checklist.jpg"/>
          <p:cNvSpPr>
            <a:spLocks noChangeAspect="1" noChangeArrowheads="1"/>
          </p:cNvSpPr>
          <p:nvPr/>
        </p:nvSpPr>
        <p:spPr bwMode="auto">
          <a:xfrm>
            <a:off x="460375" y="213784"/>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1" name="Прямоугольник 40"/>
          <p:cNvSpPr/>
          <p:nvPr/>
        </p:nvSpPr>
        <p:spPr>
          <a:xfrm>
            <a:off x="-8746" y="10391"/>
            <a:ext cx="9144000" cy="338554"/>
          </a:xfrm>
          <a:prstGeom prst="rect">
            <a:avLst/>
          </a:prstGeom>
          <a:solidFill>
            <a:srgbClr val="0070C0"/>
          </a:solidFill>
          <a:effectLst/>
        </p:spPr>
        <p:txBody>
          <a:bodyPr wrap="square" lIns="91440" tIns="45720" rIns="91440" bIns="45720">
            <a:spAutoFit/>
          </a:bodyPr>
          <a:lstStyle/>
          <a:p>
            <a:pPr algn="ctr"/>
            <a:r>
              <a:rPr lang="en-US" sz="1600" b="1" dirty="0" smtClean="0">
                <a:ln w="0"/>
                <a:solidFill>
                  <a:schemeClr val="bg1"/>
                </a:solidFill>
                <a:effectLst>
                  <a:outerShdw blurRad="38100" dist="19050" dir="2700000" algn="tl" rotWithShape="0">
                    <a:schemeClr val="dk1">
                      <a:alpha val="40000"/>
                    </a:schemeClr>
                  </a:outerShdw>
                </a:effectLst>
                <a:latin typeface="Arial Narrow" pitchFamily="34" charset="0"/>
              </a:rPr>
              <a:t>VI – </a:t>
            </a:r>
            <a:r>
              <a:rPr lang="kk-KZ" sz="1600" b="1" dirty="0" smtClean="0">
                <a:ln w="0"/>
                <a:solidFill>
                  <a:schemeClr val="bg1"/>
                </a:solidFill>
                <a:effectLst>
                  <a:outerShdw blurRad="38100" dist="19050" dir="2700000" algn="tl" rotWithShape="0">
                    <a:schemeClr val="dk1">
                      <a:alpha val="40000"/>
                    </a:schemeClr>
                  </a:outerShdw>
                </a:effectLst>
                <a:latin typeface="Arial Narrow" pitchFamily="34" charset="0"/>
              </a:rPr>
              <a:t>ТҚК ҚЫЗМЕТІН ЖЕТІЛДІРУ</a:t>
            </a:r>
            <a:endParaRPr lang="ru-RU" sz="1600" b="1" dirty="0">
              <a:ln w="0"/>
              <a:solidFill>
                <a:schemeClr val="bg1"/>
              </a:solidFill>
              <a:effectLst>
                <a:outerShdw blurRad="38100" dist="19050" dir="2700000" algn="tl" rotWithShape="0">
                  <a:schemeClr val="dk1">
                    <a:alpha val="40000"/>
                  </a:schemeClr>
                </a:outerShdw>
              </a:effectLst>
              <a:latin typeface="Arial Narrow" pitchFamily="34" charset="0"/>
            </a:endParaRPr>
          </a:p>
        </p:txBody>
      </p:sp>
      <p:pic>
        <p:nvPicPr>
          <p:cNvPr id="47" name="Рисунок 46"/>
          <p:cNvPicPr>
            <a:picLocks noChangeAspect="1"/>
          </p:cNvPicPr>
          <p:nvPr/>
        </p:nvPicPr>
        <p:blipFill>
          <a:blip r:embed="rId2"/>
          <a:srcRect/>
          <a:stretch>
            <a:fillRect/>
          </a:stretch>
        </p:blipFill>
        <p:spPr bwMode="auto">
          <a:xfrm>
            <a:off x="307976" y="1159709"/>
            <a:ext cx="1825625" cy="1838569"/>
          </a:xfrm>
          <a:prstGeom prst="rect">
            <a:avLst/>
          </a:prstGeom>
          <a:noFill/>
          <a:ln w="9525">
            <a:noFill/>
            <a:miter lim="800000"/>
            <a:headEnd/>
            <a:tailEnd/>
          </a:ln>
          <a:effectLst>
            <a:innerShdw blurRad="63500" dist="50800" dir="8100000">
              <a:prstClr val="black">
                <a:alpha val="50000"/>
              </a:prstClr>
            </a:innerShdw>
          </a:effectLst>
        </p:spPr>
      </p:pic>
      <p:pic>
        <p:nvPicPr>
          <p:cNvPr id="50" name="Picture 10" descr="C:\Users\Lepesov\AppData\Local\Temp\1483957682_slide1.jpg"/>
          <p:cNvPicPr>
            <a:picLocks noChangeAspect="1" noChangeArrowheads="1"/>
          </p:cNvPicPr>
          <p:nvPr/>
        </p:nvPicPr>
        <p:blipFill>
          <a:blip r:embed="rId3"/>
          <a:srcRect/>
          <a:stretch>
            <a:fillRect/>
          </a:stretch>
        </p:blipFill>
        <p:spPr bwMode="auto">
          <a:xfrm>
            <a:off x="3382181" y="555408"/>
            <a:ext cx="1802299" cy="1151729"/>
          </a:xfrm>
          <a:prstGeom prst="rect">
            <a:avLst/>
          </a:prstGeom>
          <a:noFill/>
          <a:ln w="9525">
            <a:noFill/>
            <a:miter lim="800000"/>
            <a:headEnd/>
            <a:tailEnd/>
          </a:ln>
          <a:effectLst>
            <a:innerShdw blurRad="63500" dist="50800" dir="8100000">
              <a:prstClr val="black">
                <a:alpha val="50000"/>
              </a:prstClr>
            </a:innerShdw>
          </a:effectLst>
        </p:spPr>
      </p:pic>
      <p:pic>
        <p:nvPicPr>
          <p:cNvPr id="57" name="Picture 11" descr="C:\Users\Lepesov\AppData\Local\Temp\hello_html_m1d9b6d4b.jpg"/>
          <p:cNvPicPr>
            <a:picLocks noChangeAspect="1" noChangeArrowheads="1"/>
          </p:cNvPicPr>
          <p:nvPr/>
        </p:nvPicPr>
        <p:blipFill>
          <a:blip r:embed="rId4"/>
          <a:srcRect/>
          <a:stretch>
            <a:fillRect/>
          </a:stretch>
        </p:blipFill>
        <p:spPr bwMode="auto">
          <a:xfrm>
            <a:off x="3628899" y="2488023"/>
            <a:ext cx="1528729" cy="1376611"/>
          </a:xfrm>
          <a:prstGeom prst="rect">
            <a:avLst/>
          </a:prstGeom>
          <a:noFill/>
          <a:ln w="9525">
            <a:noFill/>
            <a:miter lim="800000"/>
            <a:headEnd/>
            <a:tailEnd/>
          </a:ln>
        </p:spPr>
      </p:pic>
      <p:pic>
        <p:nvPicPr>
          <p:cNvPr id="60" name="Picture 6"/>
          <p:cNvPicPr>
            <a:picLocks noChangeAspect="1" noChangeArrowheads="1"/>
          </p:cNvPicPr>
          <p:nvPr/>
        </p:nvPicPr>
        <p:blipFill>
          <a:blip r:embed="rId5"/>
          <a:srcRect/>
          <a:stretch>
            <a:fillRect/>
          </a:stretch>
        </p:blipFill>
        <p:spPr bwMode="auto">
          <a:xfrm>
            <a:off x="6359567" y="1320800"/>
            <a:ext cx="1725341" cy="1614435"/>
          </a:xfrm>
          <a:prstGeom prst="rect">
            <a:avLst/>
          </a:prstGeom>
          <a:noFill/>
          <a:ln w="9525">
            <a:noFill/>
            <a:miter lim="800000"/>
            <a:headEnd/>
            <a:tailEnd/>
          </a:ln>
          <a:effectLst>
            <a:innerShdw blurRad="63500" dist="50800" dir="8100000">
              <a:prstClr val="black">
                <a:alpha val="50000"/>
              </a:prstClr>
            </a:innerShdw>
          </a:effectLst>
        </p:spPr>
      </p:pic>
      <p:pic>
        <p:nvPicPr>
          <p:cNvPr id="63" name="Picture 12" descr="C:\Users\Lepesov\AppData\Local\Temp\fragezeichen.jpg"/>
          <p:cNvPicPr>
            <a:picLocks noChangeAspect="1" noChangeArrowheads="1"/>
          </p:cNvPicPr>
          <p:nvPr/>
        </p:nvPicPr>
        <p:blipFill>
          <a:blip r:embed="rId6"/>
          <a:srcRect/>
          <a:stretch>
            <a:fillRect/>
          </a:stretch>
        </p:blipFill>
        <p:spPr bwMode="auto">
          <a:xfrm>
            <a:off x="2914521" y="2288876"/>
            <a:ext cx="366748" cy="589672"/>
          </a:xfrm>
          <a:prstGeom prst="rect">
            <a:avLst/>
          </a:prstGeom>
          <a:noFill/>
          <a:ln w="9525">
            <a:noFill/>
            <a:miter lim="800000"/>
            <a:headEnd/>
            <a:tailEnd/>
          </a:ln>
        </p:spPr>
      </p:pic>
      <p:sp>
        <p:nvSpPr>
          <p:cNvPr id="64" name="TextBox 28675"/>
          <p:cNvSpPr txBox="1">
            <a:spLocks noChangeArrowheads="1"/>
          </p:cNvSpPr>
          <p:nvPr/>
        </p:nvSpPr>
        <p:spPr bwMode="auto">
          <a:xfrm>
            <a:off x="7125195" y="1409942"/>
            <a:ext cx="1152029" cy="276999"/>
          </a:xfrm>
          <a:prstGeom prst="rect">
            <a:avLst/>
          </a:prstGeom>
          <a:noFill/>
          <a:ln w="9525">
            <a:noFill/>
            <a:miter lim="800000"/>
            <a:headEnd/>
            <a:tailEnd/>
          </a:ln>
        </p:spPr>
        <p:txBody>
          <a:bodyPr wrap="square">
            <a:spAutoFit/>
          </a:bodyPr>
          <a:lstStyle/>
          <a:p>
            <a:r>
              <a:rPr lang="ru-RU" sz="1200" b="1" dirty="0" smtClean="0">
                <a:solidFill>
                  <a:srgbClr val="FF0000"/>
                </a:solidFill>
              </a:rPr>
              <a:t>ТҚК ЖӘНЕ ТК</a:t>
            </a:r>
            <a:endParaRPr lang="ru-RU" sz="1200" b="1" dirty="0">
              <a:solidFill>
                <a:srgbClr val="FF0000"/>
              </a:solidFill>
            </a:endParaRPr>
          </a:p>
        </p:txBody>
      </p:sp>
      <p:sp>
        <p:nvSpPr>
          <p:cNvPr id="65" name="TextBox 28676"/>
          <p:cNvSpPr txBox="1">
            <a:spLocks noChangeArrowheads="1"/>
          </p:cNvSpPr>
          <p:nvPr/>
        </p:nvSpPr>
        <p:spPr bwMode="auto">
          <a:xfrm>
            <a:off x="3512137" y="1655677"/>
            <a:ext cx="1515574" cy="430887"/>
          </a:xfrm>
          <a:prstGeom prst="rect">
            <a:avLst/>
          </a:prstGeom>
          <a:noFill/>
          <a:ln w="9525">
            <a:noFill/>
            <a:miter lim="800000"/>
            <a:headEnd/>
            <a:tailEnd/>
          </a:ln>
        </p:spPr>
        <p:txBody>
          <a:bodyPr wrap="square">
            <a:spAutoFit/>
          </a:bodyPr>
          <a:lstStyle/>
          <a:p>
            <a:pPr algn="ctr"/>
            <a:r>
              <a:rPr lang="ru-RU" sz="1100" b="1" dirty="0" smtClean="0">
                <a:solidFill>
                  <a:srgbClr val="FF0000"/>
                </a:solidFill>
              </a:rPr>
              <a:t>ҚҰРЫЛЫС ЖӘНЕ ҚАРЖЫ ҰЙЫМДАРЫ</a:t>
            </a:r>
            <a:endParaRPr lang="ru-RU" sz="1100" b="1" dirty="0">
              <a:solidFill>
                <a:srgbClr val="FF0000"/>
              </a:solidFill>
            </a:endParaRPr>
          </a:p>
        </p:txBody>
      </p:sp>
      <p:sp>
        <p:nvSpPr>
          <p:cNvPr id="75" name="TextBox 74"/>
          <p:cNvSpPr txBox="1"/>
          <p:nvPr/>
        </p:nvSpPr>
        <p:spPr>
          <a:xfrm>
            <a:off x="155575" y="3650735"/>
            <a:ext cx="4152978" cy="2554545"/>
          </a:xfrm>
          <a:prstGeom prst="rect">
            <a:avLst/>
          </a:prstGeom>
          <a:noFill/>
          <a:ln>
            <a:noFill/>
          </a:ln>
        </p:spPr>
        <p:txBody>
          <a:bodyPr wrap="square">
            <a:spAutoFit/>
          </a:bodyPr>
          <a:lstStyle/>
          <a:p>
            <a:pPr algn="ctr">
              <a:defRPr/>
            </a:pPr>
            <a:r>
              <a:rPr lang="ru-RU" sz="1000" b="1" dirty="0" smtClean="0">
                <a:solidFill>
                  <a:srgbClr val="A40000"/>
                </a:solidFill>
                <a:latin typeface="Arial" panose="020B0604020202020204" pitchFamily="34" charset="0"/>
                <a:cs typeface="Arial" panose="020B0604020202020204" pitchFamily="34" charset="0"/>
              </a:rPr>
              <a:t>ПРОБЛЕМАЛАР:</a:t>
            </a:r>
          </a:p>
          <a:p>
            <a:pPr algn="ctr">
              <a:defRPr/>
            </a:pPr>
            <a:endParaRPr lang="ru-RU" sz="1000" b="1" u="sng" dirty="0">
              <a:solidFill>
                <a:srgbClr val="A40000"/>
              </a:solidFill>
              <a:latin typeface="Arial" panose="020B0604020202020204" pitchFamily="34" charset="0"/>
              <a:cs typeface="Arial" panose="020B0604020202020204" pitchFamily="34" charset="0"/>
            </a:endParaRPr>
          </a:p>
          <a:p>
            <a:pPr marL="128588" indent="-128588" algn="just">
              <a:buFontTx/>
              <a:buChar char="-"/>
              <a:defRPr/>
            </a:pPr>
            <a:r>
              <a:rPr lang="kk-KZ" sz="1000" dirty="0" smtClean="0">
                <a:solidFill>
                  <a:srgbClr val="A40000"/>
                </a:solidFill>
                <a:latin typeface="Arial" panose="020B0604020202020204" pitchFamily="34" charset="0"/>
                <a:cs typeface="Arial" panose="020B0604020202020204" pitchFamily="34" charset="0"/>
              </a:rPr>
              <a:t>Құрылыс </a:t>
            </a:r>
            <a:r>
              <a:rPr lang="kk-KZ" sz="1000" dirty="0">
                <a:solidFill>
                  <a:srgbClr val="A40000"/>
                </a:solidFill>
                <a:latin typeface="Arial" panose="020B0604020202020204" pitchFamily="34" charset="0"/>
                <a:cs typeface="Arial" panose="020B0604020202020204" pitchFamily="34" charset="0"/>
              </a:rPr>
              <a:t>және қаржы ұйымдары </a:t>
            </a:r>
            <a:r>
              <a:rPr lang="kk-KZ" sz="1000" dirty="0" smtClean="0">
                <a:solidFill>
                  <a:srgbClr val="A40000"/>
                </a:solidFill>
                <a:latin typeface="Arial" panose="020B0604020202020204" pitchFamily="34" charset="0"/>
                <a:cs typeface="Arial" panose="020B0604020202020204" pitchFamily="34" charset="0"/>
              </a:rPr>
              <a:t>өздерінің </a:t>
            </a:r>
            <a:r>
              <a:rPr lang="kk-KZ" sz="1000" dirty="0">
                <a:solidFill>
                  <a:srgbClr val="A40000"/>
                </a:solidFill>
                <a:latin typeface="Arial" panose="020B0604020202020204" pitchFamily="34" charset="0"/>
                <a:cs typeface="Arial" panose="020B0604020202020204" pitchFamily="34" charset="0"/>
              </a:rPr>
              <a:t>«аффилирленген» </a:t>
            </a:r>
            <a:r>
              <a:rPr lang="kk-KZ" sz="1000" dirty="0" smtClean="0">
                <a:solidFill>
                  <a:srgbClr val="A40000"/>
                </a:solidFill>
                <a:latin typeface="Arial" panose="020B0604020202020204" pitchFamily="34" charset="0"/>
                <a:cs typeface="Arial" panose="020B0604020202020204" pitchFamily="34" charset="0"/>
              </a:rPr>
              <a:t>ТҚК </a:t>
            </a:r>
            <a:r>
              <a:rPr lang="kk-KZ" sz="1000" dirty="0">
                <a:solidFill>
                  <a:srgbClr val="A40000"/>
                </a:solidFill>
                <a:latin typeface="Arial" panose="020B0604020202020204" pitchFamily="34" charset="0"/>
                <a:cs typeface="Arial" panose="020B0604020202020204" pitchFamily="34" charset="0"/>
              </a:rPr>
              <a:t>және </a:t>
            </a:r>
            <a:r>
              <a:rPr lang="kk-KZ" sz="1000" dirty="0" smtClean="0">
                <a:solidFill>
                  <a:srgbClr val="A40000"/>
                </a:solidFill>
                <a:latin typeface="Arial" panose="020B0604020202020204" pitchFamily="34" charset="0"/>
                <a:cs typeface="Arial" panose="020B0604020202020204" pitchFamily="34" charset="0"/>
              </a:rPr>
              <a:t>ТК </a:t>
            </a:r>
            <a:r>
              <a:rPr lang="kk-KZ" sz="1000" dirty="0">
                <a:solidFill>
                  <a:srgbClr val="A40000"/>
                </a:solidFill>
                <a:latin typeface="Arial" panose="020B0604020202020204" pitchFamily="34" charset="0"/>
                <a:cs typeface="Arial" panose="020B0604020202020204" pitchFamily="34" charset="0"/>
              </a:rPr>
              <a:t>арқылы </a:t>
            </a:r>
            <a:r>
              <a:rPr lang="kk-KZ" sz="1000" dirty="0" smtClean="0">
                <a:solidFill>
                  <a:srgbClr val="A40000"/>
                </a:solidFill>
                <a:latin typeface="Arial" panose="020B0604020202020204" pitchFamily="34" charset="0"/>
                <a:cs typeface="Arial" panose="020B0604020202020204" pitchFamily="34" charset="0"/>
              </a:rPr>
              <a:t>азаматтардың қаражатын  </a:t>
            </a:r>
            <a:r>
              <a:rPr lang="kk-KZ" sz="1000" dirty="0">
                <a:solidFill>
                  <a:srgbClr val="A40000"/>
                </a:solidFill>
                <a:latin typeface="Arial" panose="020B0604020202020204" pitchFamily="34" charset="0"/>
                <a:cs typeface="Arial" panose="020B0604020202020204" pitchFamily="34" charset="0"/>
              </a:rPr>
              <a:t>тартады</a:t>
            </a:r>
            <a:endParaRPr lang="ru-RU" sz="1000" dirty="0">
              <a:solidFill>
                <a:srgbClr val="A40000"/>
              </a:solidFill>
              <a:latin typeface="Arial" panose="020B0604020202020204" pitchFamily="34" charset="0"/>
              <a:cs typeface="Arial" panose="020B0604020202020204" pitchFamily="34" charset="0"/>
            </a:endParaRPr>
          </a:p>
          <a:p>
            <a:pPr marL="128588" indent="-128588" algn="just">
              <a:buFontTx/>
              <a:buChar char="-"/>
              <a:defRPr/>
            </a:pPr>
            <a:endParaRPr lang="ru-RU" sz="1000" dirty="0" smtClean="0">
              <a:solidFill>
                <a:srgbClr val="A40000"/>
              </a:solidFill>
              <a:latin typeface="Arial" panose="020B0604020202020204" pitchFamily="34" charset="0"/>
              <a:ea typeface="Times New Roman" panose="02020603050405020304" pitchFamily="18" charset="0"/>
              <a:cs typeface="Arial" panose="020B0604020202020204" pitchFamily="34" charset="0"/>
            </a:endParaRPr>
          </a:p>
          <a:p>
            <a:pPr algn="just">
              <a:defRPr/>
            </a:pPr>
            <a:endParaRPr lang="ru-RU" sz="1000" dirty="0">
              <a:solidFill>
                <a:srgbClr val="A40000"/>
              </a:solidFill>
              <a:latin typeface="Arial" panose="020B0604020202020204" pitchFamily="34" charset="0"/>
              <a:ea typeface="Times New Roman" panose="02020603050405020304" pitchFamily="18" charset="0"/>
              <a:cs typeface="Arial" panose="020B0604020202020204" pitchFamily="34" charset="0"/>
            </a:endParaRPr>
          </a:p>
          <a:p>
            <a:pPr marL="128588" indent="-128588" algn="just">
              <a:buFontTx/>
              <a:buChar char="-"/>
              <a:defRPr/>
            </a:pPr>
            <a:r>
              <a:rPr lang="kk-KZ" sz="1000" dirty="0" smtClean="0">
                <a:solidFill>
                  <a:srgbClr val="A40000"/>
                </a:solidFill>
                <a:latin typeface="Arial" panose="020B0604020202020204" pitchFamily="34" charset="0"/>
                <a:cs typeface="Arial" panose="020B0604020202020204" pitchFamily="34" charset="0"/>
              </a:rPr>
              <a:t>Пайшы азаматтардың құқықтары </a:t>
            </a:r>
            <a:r>
              <a:rPr lang="kk-KZ" sz="1000" dirty="0">
                <a:solidFill>
                  <a:srgbClr val="A40000"/>
                </a:solidFill>
                <a:latin typeface="Arial" panose="020B0604020202020204" pitchFamily="34" charset="0"/>
                <a:cs typeface="Arial" panose="020B0604020202020204" pitchFamily="34" charset="0"/>
              </a:rPr>
              <a:t>мен заңды мүдделерін қорғауға кепілдік беру шараларының болмауы (тұрғын үй алу немесе ақшаны қайтару)</a:t>
            </a:r>
            <a:endParaRPr lang="ru-RU" sz="1000" dirty="0">
              <a:solidFill>
                <a:srgbClr val="A40000"/>
              </a:solidFill>
              <a:latin typeface="Arial" panose="020B0604020202020204" pitchFamily="34" charset="0"/>
              <a:cs typeface="Arial" panose="020B0604020202020204" pitchFamily="34" charset="0"/>
            </a:endParaRPr>
          </a:p>
          <a:p>
            <a:pPr marL="128588" indent="-128588" algn="just">
              <a:buFontTx/>
              <a:buChar char="-"/>
              <a:defRPr/>
            </a:pPr>
            <a:endParaRPr lang="ru-RU" sz="1000" dirty="0" smtClean="0">
              <a:solidFill>
                <a:srgbClr val="A40000"/>
              </a:solidFill>
              <a:latin typeface="Arial" panose="020B0604020202020204" pitchFamily="34" charset="0"/>
              <a:ea typeface="Times New Roman" panose="02020603050405020304" pitchFamily="18" charset="0"/>
              <a:cs typeface="Arial" panose="020B0604020202020204" pitchFamily="34" charset="0"/>
            </a:endParaRPr>
          </a:p>
          <a:p>
            <a:pPr algn="just">
              <a:defRPr/>
            </a:pPr>
            <a:endParaRPr lang="ru-RU" sz="1000" dirty="0" smtClean="0">
              <a:solidFill>
                <a:srgbClr val="A40000"/>
              </a:solidFill>
              <a:latin typeface="Arial" panose="020B0604020202020204" pitchFamily="34" charset="0"/>
              <a:ea typeface="Times New Roman" panose="02020603050405020304" pitchFamily="18" charset="0"/>
              <a:cs typeface="Arial" panose="020B0604020202020204" pitchFamily="34" charset="0"/>
            </a:endParaRPr>
          </a:p>
          <a:p>
            <a:pPr marL="128588" indent="-128588" algn="just">
              <a:buFontTx/>
              <a:buChar char="-"/>
              <a:defRPr/>
            </a:pPr>
            <a:r>
              <a:rPr lang="kk-KZ" sz="1000" dirty="0" smtClean="0">
                <a:solidFill>
                  <a:srgbClr val="A40000"/>
                </a:solidFill>
                <a:latin typeface="Arial" panose="020B0604020202020204" pitchFamily="34" charset="0"/>
                <a:cs typeface="Arial" panose="020B0604020202020204" pitchFamily="34" charset="0"/>
              </a:rPr>
              <a:t>негізгі </a:t>
            </a:r>
            <a:r>
              <a:rPr lang="kk-KZ" sz="1000" dirty="0">
                <a:solidFill>
                  <a:srgbClr val="A40000"/>
                </a:solidFill>
                <a:latin typeface="Arial" panose="020B0604020202020204" pitchFamily="34" charset="0"/>
                <a:cs typeface="Arial" panose="020B0604020202020204" pitchFamily="34" charset="0"/>
              </a:rPr>
              <a:t>мақсаты азаматтардың қаражатын заңсыз алу болып </a:t>
            </a:r>
            <a:r>
              <a:rPr lang="kk-KZ" sz="1000" dirty="0" smtClean="0">
                <a:solidFill>
                  <a:srgbClr val="A40000"/>
                </a:solidFill>
                <a:latin typeface="Arial" panose="020B0604020202020204" pitchFamily="34" charset="0"/>
                <a:cs typeface="Arial" panose="020B0604020202020204" pitchFamily="34" charset="0"/>
              </a:rPr>
              <a:t>табылатын қаржы пирамидаларының құрылу </a:t>
            </a:r>
            <a:r>
              <a:rPr lang="kk-KZ" sz="1000" dirty="0">
                <a:solidFill>
                  <a:srgbClr val="A40000"/>
                </a:solidFill>
                <a:latin typeface="Arial" panose="020B0604020202020204" pitchFamily="34" charset="0"/>
                <a:cs typeface="Arial" panose="020B0604020202020204" pitchFamily="34" charset="0"/>
              </a:rPr>
              <a:t>алғышарттары </a:t>
            </a:r>
            <a:r>
              <a:rPr lang="kk-KZ" sz="1000" dirty="0" smtClean="0">
                <a:solidFill>
                  <a:srgbClr val="A40000"/>
                </a:solidFill>
                <a:latin typeface="Arial" panose="020B0604020202020204" pitchFamily="34" charset="0"/>
                <a:cs typeface="Arial" panose="020B0604020202020204" pitchFamily="34" charset="0"/>
              </a:rPr>
              <a:t>бар</a:t>
            </a:r>
            <a:r>
              <a:rPr lang="kk-KZ" sz="1000" dirty="0">
                <a:solidFill>
                  <a:srgbClr val="A40000"/>
                </a:solidFill>
                <a:latin typeface="Arial" panose="020B0604020202020204" pitchFamily="34" charset="0"/>
                <a:cs typeface="Arial" panose="020B0604020202020204" pitchFamily="34" charset="0"/>
              </a:rPr>
              <a:t>.</a:t>
            </a:r>
            <a:r>
              <a:rPr lang="kk-KZ" sz="1000" dirty="0" smtClean="0">
                <a:solidFill>
                  <a:srgbClr val="A40000"/>
                </a:solidFill>
                <a:latin typeface="Arial" panose="020B0604020202020204" pitchFamily="34" charset="0"/>
                <a:cs typeface="Arial" panose="020B0604020202020204" pitchFamily="34" charset="0"/>
              </a:rPr>
              <a:t> </a:t>
            </a:r>
            <a:endParaRPr lang="ru-RU" sz="1000" dirty="0">
              <a:solidFill>
                <a:srgbClr val="A40000"/>
              </a:solidFill>
              <a:latin typeface="Arial" panose="020B0604020202020204" pitchFamily="34" charset="0"/>
              <a:cs typeface="Arial" panose="020B0604020202020204" pitchFamily="34" charset="0"/>
            </a:endParaRPr>
          </a:p>
          <a:p>
            <a:pPr marL="128588" indent="-128588" algn="just">
              <a:buFontTx/>
              <a:buChar char="-"/>
              <a:defRPr/>
            </a:pPr>
            <a:endParaRPr lang="ru-RU" sz="1000" dirty="0">
              <a:solidFill>
                <a:srgbClr val="A40000"/>
              </a:solidFill>
              <a:latin typeface="Arial" panose="020B0604020202020204" pitchFamily="34" charset="0"/>
              <a:ea typeface="Times New Roman" panose="02020603050405020304" pitchFamily="18" charset="0"/>
              <a:cs typeface="Arial" panose="020B0604020202020204" pitchFamily="34" charset="0"/>
            </a:endParaRPr>
          </a:p>
          <a:p>
            <a:pPr>
              <a:defRPr/>
            </a:pPr>
            <a:endParaRPr lang="ru-RU" sz="1000" dirty="0"/>
          </a:p>
        </p:txBody>
      </p:sp>
      <p:pic>
        <p:nvPicPr>
          <p:cNvPr id="2052" name="Picture 4" descr="http://capitalpride.in/img/stock/stock_cash.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20745734">
            <a:off x="5120723" y="2334354"/>
            <a:ext cx="1102713" cy="547065"/>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p:cNvSpPr txBox="1"/>
          <p:nvPr/>
        </p:nvSpPr>
        <p:spPr>
          <a:xfrm>
            <a:off x="4572000" y="3633981"/>
            <a:ext cx="4442604" cy="2400657"/>
          </a:xfrm>
          <a:prstGeom prst="rect">
            <a:avLst/>
          </a:prstGeom>
          <a:noFill/>
        </p:spPr>
        <p:txBody>
          <a:bodyPr wrap="square">
            <a:spAutoFit/>
          </a:bodyPr>
          <a:lstStyle/>
          <a:p>
            <a:pPr algn="ctr">
              <a:defRPr/>
            </a:pPr>
            <a:r>
              <a:rPr lang="ru-RU" sz="1000" b="1" dirty="0" smtClean="0">
                <a:solidFill>
                  <a:schemeClr val="accent6">
                    <a:lumMod val="50000"/>
                  </a:schemeClr>
                </a:solidFill>
                <a:latin typeface="Arial" panose="020B0604020202020204" pitchFamily="34" charset="0"/>
                <a:cs typeface="Arial" panose="020B0604020202020204" pitchFamily="34" charset="0"/>
              </a:rPr>
              <a:t>ШЕШІМДЕР:</a:t>
            </a:r>
          </a:p>
          <a:p>
            <a:pPr algn="ctr">
              <a:defRPr/>
            </a:pPr>
            <a:endParaRPr lang="ru-RU" sz="1000" b="1" u="sng" dirty="0">
              <a:solidFill>
                <a:schemeClr val="accent6">
                  <a:lumMod val="50000"/>
                </a:schemeClr>
              </a:solidFill>
              <a:latin typeface="Arial" panose="020B0604020202020204" pitchFamily="34" charset="0"/>
              <a:cs typeface="Arial" panose="020B0604020202020204" pitchFamily="34" charset="0"/>
            </a:endParaRPr>
          </a:p>
          <a:p>
            <a:pPr marL="128588" indent="-128588" algn="just">
              <a:buFontTx/>
              <a:buChar char="-"/>
              <a:defRPr/>
            </a:pPr>
            <a:r>
              <a:rPr lang="kk-KZ" sz="1000" dirty="0" smtClean="0">
                <a:solidFill>
                  <a:schemeClr val="accent6">
                    <a:lumMod val="50000"/>
                  </a:schemeClr>
                </a:solidFill>
                <a:latin typeface="Arial" panose="020B0604020202020204" pitchFamily="34" charset="0"/>
                <a:cs typeface="Arial" panose="020B0604020202020204" pitchFamily="34" charset="0"/>
              </a:rPr>
              <a:t>Қаржы </a:t>
            </a:r>
            <a:r>
              <a:rPr lang="kk-KZ" sz="1000" dirty="0">
                <a:solidFill>
                  <a:schemeClr val="accent6">
                    <a:lumMod val="50000"/>
                  </a:schemeClr>
                </a:solidFill>
                <a:latin typeface="Arial" panose="020B0604020202020204" pitchFamily="34" charset="0"/>
                <a:cs typeface="Arial" panose="020B0604020202020204" pitchFamily="34" charset="0"/>
              </a:rPr>
              <a:t>пирамидаларын құруға жол бермеу </a:t>
            </a:r>
            <a:r>
              <a:rPr lang="kk-KZ" sz="1000" dirty="0" smtClean="0">
                <a:solidFill>
                  <a:schemeClr val="accent6">
                    <a:lumMod val="50000"/>
                  </a:schemeClr>
                </a:solidFill>
                <a:latin typeface="Arial" panose="020B0604020202020204" pitchFamily="34" charset="0"/>
                <a:cs typeface="Arial" panose="020B0604020202020204" pitchFamily="34" charset="0"/>
              </a:rPr>
              <a:t>үшін, азаматтардың </a:t>
            </a:r>
            <a:r>
              <a:rPr lang="kk-KZ" sz="1000" dirty="0">
                <a:solidFill>
                  <a:schemeClr val="accent6">
                    <a:lumMod val="50000"/>
                  </a:schemeClr>
                </a:solidFill>
                <a:latin typeface="Arial" panose="020B0604020202020204" pitchFamily="34" charset="0"/>
                <a:cs typeface="Arial" panose="020B0604020202020204" pitchFamily="34" charset="0"/>
              </a:rPr>
              <a:t>бірігу нысаны </a:t>
            </a:r>
            <a:r>
              <a:rPr lang="kk-KZ" sz="1000" dirty="0" smtClean="0">
                <a:solidFill>
                  <a:schemeClr val="accent6">
                    <a:lumMod val="50000"/>
                  </a:schemeClr>
                </a:solidFill>
                <a:latin typeface="Arial" panose="020B0604020202020204" pitchFamily="34" charset="0"/>
                <a:cs typeface="Arial" panose="020B0604020202020204" pitchFamily="34" charset="0"/>
              </a:rPr>
              <a:t>ретіндегі </a:t>
            </a:r>
            <a:r>
              <a:rPr lang="kk-KZ" sz="1000" u="sng" dirty="0" smtClean="0">
                <a:solidFill>
                  <a:schemeClr val="accent6">
                    <a:lumMod val="50000"/>
                  </a:schemeClr>
                </a:solidFill>
                <a:latin typeface="Arial" panose="020B0604020202020204" pitchFamily="34" charset="0"/>
                <a:cs typeface="Arial" panose="020B0604020202020204" pitchFamily="34" charset="0"/>
              </a:rPr>
              <a:t>ТҰРҒЫН ҮЙ КООПЕРАТИВТЕРІН </a:t>
            </a:r>
            <a:r>
              <a:rPr lang="kk-KZ" sz="1000" dirty="0" smtClean="0">
                <a:solidFill>
                  <a:schemeClr val="accent6">
                    <a:lumMod val="50000"/>
                  </a:schemeClr>
                </a:solidFill>
                <a:latin typeface="Arial" panose="020B0604020202020204" pitchFamily="34" charset="0"/>
                <a:cs typeface="Arial" panose="020B0604020202020204" pitchFamily="34" charset="0"/>
              </a:rPr>
              <a:t>болдырмау</a:t>
            </a:r>
            <a:endParaRPr lang="ru-RU" sz="1000" dirty="0">
              <a:solidFill>
                <a:schemeClr val="accent6">
                  <a:lumMod val="50000"/>
                </a:schemeClr>
              </a:solidFill>
              <a:latin typeface="Arial" panose="020B0604020202020204" pitchFamily="34" charset="0"/>
              <a:cs typeface="Arial" panose="020B0604020202020204" pitchFamily="34" charset="0"/>
            </a:endParaRPr>
          </a:p>
          <a:p>
            <a:pPr algn="just">
              <a:defRPr/>
            </a:pPr>
            <a:endParaRPr lang="ru-RU" sz="10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endParaRPr>
          </a:p>
          <a:p>
            <a:pPr marL="128588" indent="-128588" algn="just">
              <a:buFontTx/>
              <a:buChar char="-"/>
              <a:defRPr/>
            </a:pPr>
            <a:r>
              <a:rPr lang="ru-RU" sz="1000" dirty="0"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ТҚК тек </a:t>
            </a:r>
            <a:r>
              <a:rPr lang="ru-RU" sz="1000" dirty="0" err="1"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бір</a:t>
            </a:r>
            <a:r>
              <a:rPr lang="ru-RU" sz="1000" dirty="0"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 </a:t>
            </a:r>
            <a:r>
              <a:rPr lang="ru-RU" sz="1000" dirty="0" err="1"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ғана</a:t>
            </a:r>
            <a:r>
              <a:rPr lang="ru-RU" sz="1000" dirty="0"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 КТҮ салу </a:t>
            </a:r>
            <a:r>
              <a:rPr lang="ru-RU" sz="1000" dirty="0" err="1"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үшін</a:t>
            </a:r>
            <a:r>
              <a:rPr lang="ru-RU" sz="1000" dirty="0"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 </a:t>
            </a:r>
            <a:r>
              <a:rPr lang="ru-RU" sz="1000" dirty="0" err="1"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құрылады</a:t>
            </a:r>
            <a:endParaRPr lang="ru-RU" sz="1000" dirty="0"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endParaRPr>
          </a:p>
          <a:p>
            <a:pPr algn="just">
              <a:defRPr/>
            </a:pPr>
            <a:endParaRPr lang="ru-RU" sz="1000" dirty="0"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endParaRPr>
          </a:p>
          <a:p>
            <a:pPr marL="128588" indent="-128588" algn="just">
              <a:buFontTx/>
              <a:buChar char="-"/>
              <a:defRPr/>
            </a:pPr>
            <a:r>
              <a:rPr lang="kk-KZ" sz="1000" dirty="0" smtClean="0">
                <a:solidFill>
                  <a:schemeClr val="accent6">
                    <a:lumMod val="50000"/>
                  </a:schemeClr>
                </a:solidFill>
                <a:latin typeface="Arial" panose="020B0604020202020204" pitchFamily="34" charset="0"/>
                <a:cs typeface="Arial" panose="020B0604020202020204" pitchFamily="34" charset="0"/>
              </a:rPr>
              <a:t>ТҚК </a:t>
            </a:r>
            <a:r>
              <a:rPr lang="kk-KZ" sz="1000" dirty="0">
                <a:solidFill>
                  <a:schemeClr val="accent6">
                    <a:lumMod val="50000"/>
                  </a:schemeClr>
                </a:solidFill>
                <a:latin typeface="Arial" panose="020B0604020202020204" pitchFamily="34" charset="0"/>
                <a:cs typeface="Arial" panose="020B0604020202020204" pitchFamily="34" charset="0"/>
              </a:rPr>
              <a:t>мүшелерінің саны  салынып жатқан </a:t>
            </a:r>
            <a:r>
              <a:rPr lang="kk-KZ" sz="1000" dirty="0" smtClean="0">
                <a:solidFill>
                  <a:schemeClr val="accent6">
                    <a:lumMod val="50000"/>
                  </a:schemeClr>
                </a:solidFill>
                <a:latin typeface="Arial" panose="020B0604020202020204" pitchFamily="34" charset="0"/>
                <a:cs typeface="Arial" panose="020B0604020202020204" pitchFamily="34" charset="0"/>
              </a:rPr>
              <a:t>КТҮ-дегі </a:t>
            </a:r>
            <a:r>
              <a:rPr lang="kk-KZ" sz="1000" dirty="0">
                <a:solidFill>
                  <a:schemeClr val="accent6">
                    <a:lumMod val="50000"/>
                  </a:schemeClr>
                </a:solidFill>
                <a:latin typeface="Arial" panose="020B0604020202020204" pitchFamily="34" charset="0"/>
                <a:cs typeface="Arial" panose="020B0604020202020204" pitchFamily="34" charset="0"/>
              </a:rPr>
              <a:t>пәтерлер санынан аспауы </a:t>
            </a:r>
            <a:r>
              <a:rPr lang="kk-KZ" sz="1000" dirty="0" smtClean="0">
                <a:solidFill>
                  <a:schemeClr val="accent6">
                    <a:lumMod val="50000"/>
                  </a:schemeClr>
                </a:solidFill>
                <a:latin typeface="Arial" panose="020B0604020202020204" pitchFamily="34" charset="0"/>
                <a:cs typeface="Arial" panose="020B0604020202020204" pitchFamily="34" charset="0"/>
              </a:rPr>
              <a:t>тиіс</a:t>
            </a:r>
          </a:p>
          <a:p>
            <a:pPr algn="just">
              <a:defRPr/>
            </a:pPr>
            <a:endParaRPr lang="ru-RU" sz="1000" dirty="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endParaRPr>
          </a:p>
          <a:p>
            <a:pPr marL="128588" indent="-128588" algn="just">
              <a:buFontTx/>
              <a:buChar char="-"/>
              <a:defRPr/>
            </a:pPr>
            <a:r>
              <a:rPr lang="kk-KZ" sz="1000" dirty="0" smtClean="0">
                <a:solidFill>
                  <a:schemeClr val="accent6">
                    <a:lumMod val="50000"/>
                  </a:schemeClr>
                </a:solidFill>
                <a:latin typeface="Arial" panose="020B0604020202020204" pitchFamily="34" charset="0"/>
                <a:cs typeface="Arial" panose="020B0604020202020204" pitchFamily="34" charset="0"/>
              </a:rPr>
              <a:t>ТҚК мемлекеттік </a:t>
            </a:r>
            <a:r>
              <a:rPr lang="kk-KZ" sz="1000" dirty="0">
                <a:solidFill>
                  <a:schemeClr val="accent6">
                    <a:lumMod val="50000"/>
                  </a:schemeClr>
                </a:solidFill>
                <a:latin typeface="Arial" panose="020B0604020202020204" pitchFamily="34" charset="0"/>
                <a:cs typeface="Arial" panose="020B0604020202020204" pitchFamily="34" charset="0"/>
              </a:rPr>
              <a:t>тіркеуден өткеннен кейін </a:t>
            </a:r>
            <a:r>
              <a:rPr lang="kk-KZ" sz="1000" dirty="0" smtClean="0">
                <a:solidFill>
                  <a:schemeClr val="accent6">
                    <a:lumMod val="50000"/>
                  </a:schemeClr>
                </a:solidFill>
                <a:latin typeface="Arial" panose="020B0604020202020204" pitchFamily="34" charset="0"/>
                <a:cs typeface="Arial" panose="020B0604020202020204" pitchFamily="34" charset="0"/>
              </a:rPr>
              <a:t>және мемлекет тарапынан жалға берілген немесе </a:t>
            </a:r>
            <a:r>
              <a:rPr lang="kk-KZ" sz="1000" dirty="0">
                <a:solidFill>
                  <a:schemeClr val="accent6">
                    <a:lumMod val="50000"/>
                  </a:schemeClr>
                </a:solidFill>
                <a:latin typeface="Arial" panose="020B0604020202020204" pitchFamily="34" charset="0"/>
                <a:cs typeface="Arial" panose="020B0604020202020204" pitchFamily="34" charset="0"/>
              </a:rPr>
              <a:t>меншік құқығында</a:t>
            </a:r>
            <a:r>
              <a:rPr lang="kk-KZ" sz="1000" dirty="0" smtClean="0">
                <a:solidFill>
                  <a:schemeClr val="accent6">
                    <a:lumMod val="50000"/>
                  </a:schemeClr>
                </a:solidFill>
                <a:latin typeface="Arial" panose="020B0604020202020204" pitchFamily="34" charset="0"/>
                <a:cs typeface="Arial" panose="020B0604020202020204" pitchFamily="34" charset="0"/>
              </a:rPr>
              <a:t> құрылыс үшін жер телімі болса ғана, КТҮ құрылысын бастауға құқылы. </a:t>
            </a:r>
            <a:endParaRPr lang="ru-RU" sz="1000" dirty="0">
              <a:solidFill>
                <a:schemeClr val="accent6">
                  <a:lumMod val="50000"/>
                </a:schemeClr>
              </a:solidFill>
              <a:latin typeface="Arial" panose="020B0604020202020204" pitchFamily="34" charset="0"/>
              <a:cs typeface="Arial" panose="020B0604020202020204" pitchFamily="34" charset="0"/>
            </a:endParaRPr>
          </a:p>
          <a:p>
            <a:pPr algn="just">
              <a:defRPr/>
            </a:pPr>
            <a:endParaRPr lang="ru-RU" sz="1000" dirty="0" smtClean="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endParaRPr>
          </a:p>
          <a:p>
            <a:pPr>
              <a:defRPr/>
            </a:pPr>
            <a:endParaRPr lang="ru-RU" sz="1000" dirty="0"/>
          </a:p>
        </p:txBody>
      </p:sp>
      <p:sp>
        <p:nvSpPr>
          <p:cNvPr id="95" name="Стрелка вправо 94"/>
          <p:cNvSpPr/>
          <p:nvPr/>
        </p:nvSpPr>
        <p:spPr>
          <a:xfrm rot="9698697">
            <a:off x="2231851" y="1301097"/>
            <a:ext cx="1074670" cy="323396"/>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 name="Стрелка вправо 97"/>
          <p:cNvSpPr/>
          <p:nvPr/>
        </p:nvSpPr>
        <p:spPr>
          <a:xfrm rot="904978">
            <a:off x="5091123" y="1358517"/>
            <a:ext cx="1124075" cy="355983"/>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9" name="Стрелка вправо 98"/>
          <p:cNvSpPr/>
          <p:nvPr/>
        </p:nvSpPr>
        <p:spPr>
          <a:xfrm rot="20489792">
            <a:off x="5156945" y="2858828"/>
            <a:ext cx="1074670" cy="376649"/>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Стрелка вправо 99"/>
          <p:cNvSpPr/>
          <p:nvPr/>
        </p:nvSpPr>
        <p:spPr>
          <a:xfrm rot="1296758">
            <a:off x="2365402" y="2886080"/>
            <a:ext cx="1074670" cy="363859"/>
          </a:xfrm>
          <a:prstGeom prst="rightArrow">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Номер слайда 1"/>
          <p:cNvSpPr>
            <a:spLocks noGrp="1"/>
          </p:cNvSpPr>
          <p:nvPr>
            <p:ph type="sldNum" sz="quarter" idx="12"/>
          </p:nvPr>
        </p:nvSpPr>
        <p:spPr>
          <a:xfrm>
            <a:off x="6972300" y="6356351"/>
            <a:ext cx="2057400" cy="365125"/>
          </a:xfrm>
        </p:spPr>
        <p:txBody>
          <a:bodyPr/>
          <a:lstStyle/>
          <a:p>
            <a:fld id="{5B7F4A50-1F8C-475C-94C6-2D50DD7E8F1E}" type="slidenum">
              <a:rPr lang="en-US" sz="1000" smtClean="0">
                <a:solidFill>
                  <a:schemeClr val="tx1"/>
                </a:solidFill>
              </a:rPr>
              <a:t>13</a:t>
            </a:fld>
            <a:endParaRPr lang="en-US" sz="1000" dirty="0">
              <a:solidFill>
                <a:schemeClr val="tx1"/>
              </a:solidFill>
            </a:endParaRPr>
          </a:p>
        </p:txBody>
      </p:sp>
    </p:spTree>
    <p:extLst>
      <p:ext uri="{BB962C8B-B14F-4D97-AF65-F5344CB8AC3E}">
        <p14:creationId xmlns:p14="http://schemas.microsoft.com/office/powerpoint/2010/main" val="1137207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1000" fill="hold"/>
                                        <p:tgtEl>
                                          <p:spTgt spid="41"/>
                                        </p:tgtEl>
                                        <p:attrNameLst>
                                          <p:attrName>ppt_w</p:attrName>
                                        </p:attrNameLst>
                                      </p:cBhvr>
                                      <p:tavLst>
                                        <p:tav tm="0">
                                          <p:val>
                                            <p:fltVal val="0"/>
                                          </p:val>
                                        </p:tav>
                                        <p:tav tm="100000">
                                          <p:val>
                                            <p:strVal val="#ppt_w"/>
                                          </p:val>
                                        </p:tav>
                                      </p:tavLst>
                                    </p:anim>
                                    <p:anim calcmode="lin" valueType="num">
                                      <p:cBhvr>
                                        <p:cTn id="8" dur="1000" fill="hold"/>
                                        <p:tgtEl>
                                          <p:spTgt spid="41"/>
                                        </p:tgtEl>
                                        <p:attrNameLst>
                                          <p:attrName>ppt_h</p:attrName>
                                        </p:attrNameLst>
                                      </p:cBhvr>
                                      <p:tavLst>
                                        <p:tav tm="0">
                                          <p:val>
                                            <p:fltVal val="0"/>
                                          </p:val>
                                        </p:tav>
                                        <p:tav tm="100000">
                                          <p:val>
                                            <p:strVal val="#ppt_h"/>
                                          </p:val>
                                        </p:tav>
                                      </p:tavLst>
                                    </p:anim>
                                    <p:animEffect transition="in" filter="fade">
                                      <p:cBhvr>
                                        <p:cTn id="9"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100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AutoShape 4" descr="https://scrproperty.net/wp-content/uploads/sites/30/2014/05/buying-property-checklist.jpg"/>
          <p:cNvSpPr>
            <a:spLocks noChangeAspect="1" noChangeArrowheads="1"/>
          </p:cNvSpPr>
          <p:nvPr/>
        </p:nvSpPr>
        <p:spPr bwMode="auto">
          <a:xfrm>
            <a:off x="155575" y="-192617"/>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 name="AutoShape 6" descr="https://scrproperty.net/wp-content/uploads/sites/30/2014/05/buying-property-checklist.jpg"/>
          <p:cNvSpPr>
            <a:spLocks noChangeAspect="1" noChangeArrowheads="1"/>
          </p:cNvSpPr>
          <p:nvPr/>
        </p:nvSpPr>
        <p:spPr bwMode="auto">
          <a:xfrm>
            <a:off x="307975" y="10584"/>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 name="AutoShape 8" descr="https://scrproperty.net/wp-content/uploads/sites/30/2014/05/buying-property-checklist.jpg"/>
          <p:cNvSpPr>
            <a:spLocks noChangeAspect="1" noChangeArrowheads="1"/>
          </p:cNvSpPr>
          <p:nvPr/>
        </p:nvSpPr>
        <p:spPr bwMode="auto">
          <a:xfrm>
            <a:off x="460375" y="213784"/>
            <a:ext cx="3048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1" name="Прямоугольник 40"/>
          <p:cNvSpPr/>
          <p:nvPr/>
        </p:nvSpPr>
        <p:spPr>
          <a:xfrm>
            <a:off x="-8746" y="10391"/>
            <a:ext cx="9144000" cy="338554"/>
          </a:xfrm>
          <a:prstGeom prst="rect">
            <a:avLst/>
          </a:prstGeom>
          <a:solidFill>
            <a:srgbClr val="0070C0"/>
          </a:solidFill>
          <a:effectLst/>
        </p:spPr>
        <p:txBody>
          <a:bodyPr wrap="square" lIns="91440" tIns="45720" rIns="91440" bIns="45720">
            <a:spAutoFit/>
          </a:bodyPr>
          <a:lstStyle/>
          <a:p>
            <a:pPr algn="ctr"/>
            <a:r>
              <a:rPr lang="ru-RU" sz="1600" b="1" dirty="0" smtClean="0">
                <a:ln w="0"/>
                <a:solidFill>
                  <a:schemeClr val="bg1"/>
                </a:solidFill>
                <a:effectLst>
                  <a:outerShdw blurRad="38100" dist="19050" dir="2700000" algn="tl" rotWithShape="0">
                    <a:schemeClr val="dk1">
                      <a:alpha val="40000"/>
                    </a:schemeClr>
                  </a:outerShdw>
                </a:effectLst>
                <a:latin typeface="Arial Narrow" pitchFamily="34" charset="0"/>
              </a:rPr>
              <a:t>НОРМАТИВТІК ҚҰҚЫҚТЫҚ АКТІЛЕРДІҢ ТІЗБЕСІ</a:t>
            </a:r>
            <a:endParaRPr lang="ru-RU" sz="1600" b="1" dirty="0">
              <a:ln w="0"/>
              <a:solidFill>
                <a:schemeClr val="bg1"/>
              </a:solidFill>
              <a:effectLst>
                <a:outerShdw blurRad="38100" dist="19050" dir="2700000" algn="tl" rotWithShape="0">
                  <a:schemeClr val="dk1">
                    <a:alpha val="40000"/>
                  </a:schemeClr>
                </a:outerShdw>
              </a:effectLst>
              <a:latin typeface="Arial Narrow" pitchFamily="34" charset="0"/>
            </a:endParaRPr>
          </a:p>
        </p:txBody>
      </p:sp>
      <p:sp>
        <p:nvSpPr>
          <p:cNvPr id="2" name="Номер слайда 1"/>
          <p:cNvSpPr>
            <a:spLocks noGrp="1"/>
          </p:cNvSpPr>
          <p:nvPr>
            <p:ph type="sldNum" sz="quarter" idx="12"/>
          </p:nvPr>
        </p:nvSpPr>
        <p:spPr>
          <a:xfrm>
            <a:off x="6972300" y="6356351"/>
            <a:ext cx="2057400" cy="365125"/>
          </a:xfrm>
        </p:spPr>
        <p:txBody>
          <a:bodyPr/>
          <a:lstStyle/>
          <a:p>
            <a:fld id="{5B7F4A50-1F8C-475C-94C6-2D50DD7E8F1E}" type="slidenum">
              <a:rPr lang="en-US" sz="1000" smtClean="0">
                <a:solidFill>
                  <a:schemeClr val="tx1"/>
                </a:solidFill>
              </a:rPr>
              <a:t>14</a:t>
            </a:fld>
            <a:endParaRPr lang="en-US" sz="1000" dirty="0">
              <a:solidFill>
                <a:schemeClr val="tx1"/>
              </a:solidFill>
            </a:endParaRPr>
          </a:p>
        </p:txBody>
      </p:sp>
      <p:cxnSp>
        <p:nvCxnSpPr>
          <p:cNvPr id="22" name="Прямая соединительная линия 21"/>
          <p:cNvCxnSpPr/>
          <p:nvPr/>
        </p:nvCxnSpPr>
        <p:spPr>
          <a:xfrm>
            <a:off x="8394830" y="5697679"/>
            <a:ext cx="17221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p:nvPr/>
        </p:nvCxnSpPr>
        <p:spPr>
          <a:xfrm>
            <a:off x="3215461" y="3884055"/>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a:off x="3195987" y="3272121"/>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a:off x="3184718" y="2699242"/>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a:off x="3167010" y="4452915"/>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33"/>
          <p:cNvCxnSpPr>
            <a:cxnSpLocks noChangeShapeType="1"/>
          </p:cNvCxnSpPr>
          <p:nvPr/>
        </p:nvCxnSpPr>
        <p:spPr bwMode="auto">
          <a:xfrm flipH="1">
            <a:off x="3184718" y="2751513"/>
            <a:ext cx="13941" cy="1583574"/>
          </a:xfrm>
          <a:prstGeom prst="line">
            <a:avLst/>
          </a:prstGeom>
          <a:noFill/>
          <a:ln w="9525" algn="ctr">
            <a:solidFill>
              <a:srgbClr val="808080"/>
            </a:solidFill>
            <a:round/>
            <a:headEnd/>
            <a:tailEnd/>
          </a:ln>
          <a:extLst>
            <a:ext uri="{909E8E84-426E-40DD-AFC4-6F175D3DCCD1}">
              <a14:hiddenFill xmlns:a14="http://schemas.microsoft.com/office/drawing/2010/main">
                <a:noFill/>
              </a14:hiddenFill>
            </a:ext>
          </a:extLst>
        </p:spPr>
      </p:cxnSp>
      <p:cxnSp>
        <p:nvCxnSpPr>
          <p:cNvPr id="28" name="Прямая соединительная линия 27"/>
          <p:cNvCxnSpPr/>
          <p:nvPr/>
        </p:nvCxnSpPr>
        <p:spPr>
          <a:xfrm>
            <a:off x="8414021" y="4840526"/>
            <a:ext cx="17221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nvCxnSpPr>
        <p:spPr>
          <a:xfrm>
            <a:off x="673319" y="5642329"/>
            <a:ext cx="17221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a:off x="659107" y="4771163"/>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p:cNvCxnSpPr/>
          <p:nvPr/>
        </p:nvCxnSpPr>
        <p:spPr>
          <a:xfrm>
            <a:off x="658606" y="3906337"/>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Прямая соединительная линия 31"/>
          <p:cNvCxnSpPr/>
          <p:nvPr/>
        </p:nvCxnSpPr>
        <p:spPr>
          <a:xfrm>
            <a:off x="8388952" y="4156754"/>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8420267" y="3491882"/>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p:cNvCxnSpPr/>
          <p:nvPr/>
        </p:nvCxnSpPr>
        <p:spPr>
          <a:xfrm>
            <a:off x="8420268" y="2550641"/>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p:cNvCxnSpPr/>
          <p:nvPr/>
        </p:nvCxnSpPr>
        <p:spPr>
          <a:xfrm>
            <a:off x="8420269" y="1681347"/>
            <a:ext cx="1972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3"/>
          <p:cNvCxnSpPr>
            <a:cxnSpLocks noChangeShapeType="1"/>
          </p:cNvCxnSpPr>
          <p:nvPr/>
        </p:nvCxnSpPr>
        <p:spPr bwMode="auto">
          <a:xfrm>
            <a:off x="8646172" y="1071387"/>
            <a:ext cx="0" cy="4440870"/>
          </a:xfrm>
          <a:prstGeom prst="line">
            <a:avLst/>
          </a:prstGeom>
          <a:noFill/>
          <a:ln w="9525" algn="ctr">
            <a:solidFill>
              <a:srgbClr val="808080"/>
            </a:solidFill>
            <a:round/>
            <a:headEnd/>
            <a:tailEnd/>
          </a:ln>
          <a:extLst>
            <a:ext uri="{909E8E84-426E-40DD-AFC4-6F175D3DCCD1}">
              <a14:hiddenFill xmlns:a14="http://schemas.microsoft.com/office/drawing/2010/main">
                <a:noFill/>
              </a14:hiddenFill>
            </a:ext>
          </a:extLst>
        </p:spPr>
      </p:cxnSp>
      <p:cxnSp>
        <p:nvCxnSpPr>
          <p:cNvPr id="37" name="Прямая соединительная линия 32"/>
          <p:cNvCxnSpPr>
            <a:cxnSpLocks noChangeShapeType="1"/>
          </p:cNvCxnSpPr>
          <p:nvPr/>
        </p:nvCxnSpPr>
        <p:spPr bwMode="auto">
          <a:xfrm>
            <a:off x="2937698" y="1472505"/>
            <a:ext cx="11084" cy="4390581"/>
          </a:xfrm>
          <a:prstGeom prst="line">
            <a:avLst/>
          </a:prstGeom>
          <a:noFill/>
          <a:ln w="6350" algn="ctr">
            <a:solidFill>
              <a:srgbClr val="808080"/>
            </a:solidFill>
            <a:prstDash val="sysDot"/>
            <a:round/>
            <a:headEnd/>
            <a:tailEnd/>
          </a:ln>
          <a:extLst>
            <a:ext uri="{909E8E84-426E-40DD-AFC4-6F175D3DCCD1}">
              <a14:hiddenFill xmlns:a14="http://schemas.microsoft.com/office/drawing/2010/main">
                <a:noFill/>
              </a14:hiddenFill>
            </a:ext>
          </a:extLst>
        </p:spPr>
      </p:cxnSp>
      <p:cxnSp>
        <p:nvCxnSpPr>
          <p:cNvPr id="38" name="Прямая соединительная линия 33"/>
          <p:cNvCxnSpPr>
            <a:cxnSpLocks noChangeShapeType="1"/>
          </p:cNvCxnSpPr>
          <p:nvPr/>
        </p:nvCxnSpPr>
        <p:spPr bwMode="auto">
          <a:xfrm flipH="1">
            <a:off x="658605" y="1367949"/>
            <a:ext cx="10492" cy="4208917"/>
          </a:xfrm>
          <a:prstGeom prst="line">
            <a:avLst/>
          </a:prstGeom>
          <a:noFill/>
          <a:ln w="9525" algn="ctr">
            <a:solidFill>
              <a:srgbClr val="808080"/>
            </a:solidFill>
            <a:round/>
            <a:headEnd/>
            <a:tailEnd/>
          </a:ln>
          <a:extLst>
            <a:ext uri="{909E8E84-426E-40DD-AFC4-6F175D3DCCD1}">
              <a14:hiddenFill xmlns:a14="http://schemas.microsoft.com/office/drawing/2010/main">
                <a:noFill/>
              </a14:hiddenFill>
            </a:ext>
          </a:extLst>
        </p:spPr>
      </p:cxnSp>
      <p:cxnSp>
        <p:nvCxnSpPr>
          <p:cNvPr id="39" name="Прямая соединительная линия 34"/>
          <p:cNvCxnSpPr>
            <a:cxnSpLocks noChangeShapeType="1"/>
          </p:cNvCxnSpPr>
          <p:nvPr/>
        </p:nvCxnSpPr>
        <p:spPr bwMode="auto">
          <a:xfrm>
            <a:off x="670149" y="2098930"/>
            <a:ext cx="160735" cy="1588"/>
          </a:xfrm>
          <a:prstGeom prst="line">
            <a:avLst/>
          </a:prstGeom>
          <a:noFill/>
          <a:ln w="9525" algn="ctr">
            <a:solidFill>
              <a:srgbClr val="808080"/>
            </a:solidFill>
            <a:round/>
            <a:headEnd/>
            <a:tailEnd/>
          </a:ln>
          <a:extLst>
            <a:ext uri="{909E8E84-426E-40DD-AFC4-6F175D3DCCD1}">
              <a14:hiddenFill xmlns:a14="http://schemas.microsoft.com/office/drawing/2010/main">
                <a:noFill/>
              </a14:hiddenFill>
            </a:ext>
          </a:extLst>
        </p:spPr>
      </p:cxnSp>
      <p:cxnSp>
        <p:nvCxnSpPr>
          <p:cNvPr id="40" name="Прямая соединительная линия 40"/>
          <p:cNvCxnSpPr>
            <a:cxnSpLocks noChangeShapeType="1"/>
          </p:cNvCxnSpPr>
          <p:nvPr/>
        </p:nvCxnSpPr>
        <p:spPr bwMode="auto">
          <a:xfrm>
            <a:off x="660261" y="3128636"/>
            <a:ext cx="160735" cy="1588"/>
          </a:xfrm>
          <a:prstGeom prst="line">
            <a:avLst/>
          </a:prstGeom>
          <a:noFill/>
          <a:ln w="9525" algn="ctr">
            <a:solidFill>
              <a:srgbClr val="808080"/>
            </a:solidFill>
            <a:round/>
            <a:headEnd/>
            <a:tailEnd/>
          </a:ln>
          <a:extLst>
            <a:ext uri="{909E8E84-426E-40DD-AFC4-6F175D3DCCD1}">
              <a14:hiddenFill xmlns:a14="http://schemas.microsoft.com/office/drawing/2010/main">
                <a:noFill/>
              </a14:hiddenFill>
            </a:ext>
          </a:extLst>
        </p:spPr>
      </p:cxnSp>
      <p:sp>
        <p:nvSpPr>
          <p:cNvPr id="55" name="Прямоугольник 54"/>
          <p:cNvSpPr/>
          <p:nvPr/>
        </p:nvSpPr>
        <p:spPr>
          <a:xfrm>
            <a:off x="832538" y="1056212"/>
            <a:ext cx="2040327" cy="1411474"/>
          </a:xfrm>
          <a:prstGeom prst="rect">
            <a:avLst/>
          </a:prstGeom>
          <a:solidFill>
            <a:srgbClr val="EAEAEA"/>
          </a:solidFill>
          <a:ln w="9525" cap="flat" cmpd="sng" algn="ctr">
            <a:solidFill>
              <a:srgbClr val="808080"/>
            </a:solidFill>
            <a:prstDash val="solid"/>
          </a:ln>
          <a:effectLst/>
        </p:spPr>
        <p:txBody>
          <a:bodyPr lIns="91206" tIns="45608" rIns="91206" bIns="45608" anchor="ctr"/>
          <a:lstStyle/>
          <a:p>
            <a:pPr algn="just" defTabSz="912119">
              <a:defRPr/>
            </a:pPr>
            <a:r>
              <a:rPr lang="kk-KZ" sz="1200" dirty="0" smtClean="0">
                <a:latin typeface="Arial Narrow" pitchFamily="34" charset="0"/>
              </a:rPr>
              <a:t>КТҮ  </a:t>
            </a:r>
            <a:r>
              <a:rPr lang="kk-KZ" sz="1200" dirty="0">
                <a:latin typeface="Arial Narrow" pitchFamily="34" charset="0"/>
              </a:rPr>
              <a:t>басқаруға, күтіп ұстауға  және пайдалануға байланысты, оның ішінде хаттамалардың типтік нысандары бар МИБ және ҚШ қатысушылары қабылдаған </a:t>
            </a:r>
            <a:r>
              <a:rPr lang="kk-KZ" sz="1200" dirty="0" smtClean="0">
                <a:latin typeface="Arial Narrow" pitchFamily="34" charset="0"/>
              </a:rPr>
              <a:t>Ережелер</a:t>
            </a:r>
          </a:p>
        </p:txBody>
      </p:sp>
      <p:sp>
        <p:nvSpPr>
          <p:cNvPr id="56" name="Oval 2"/>
          <p:cNvSpPr txBox="1">
            <a:spLocks/>
          </p:cNvSpPr>
          <p:nvPr>
            <p:custDataLst>
              <p:tags r:id="rId1"/>
            </p:custDataLst>
          </p:nvPr>
        </p:nvSpPr>
        <p:spPr>
          <a:xfrm>
            <a:off x="559229" y="1849149"/>
            <a:ext cx="307967" cy="282575"/>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ru-RU" sz="1200" b="1" kern="0" dirty="0">
                <a:solidFill>
                  <a:srgbClr val="FFFFFF"/>
                </a:solidFill>
                <a:latin typeface="Arial Narrow" pitchFamily="34" charset="0"/>
              </a:rPr>
              <a:t>1</a:t>
            </a:r>
          </a:p>
        </p:txBody>
      </p:sp>
      <p:sp>
        <p:nvSpPr>
          <p:cNvPr id="58" name="Прямоугольник 57"/>
          <p:cNvSpPr/>
          <p:nvPr/>
        </p:nvSpPr>
        <p:spPr>
          <a:xfrm>
            <a:off x="830791" y="2502348"/>
            <a:ext cx="2028782" cy="1113658"/>
          </a:xfrm>
          <a:prstGeom prst="rect">
            <a:avLst/>
          </a:prstGeom>
          <a:solidFill>
            <a:srgbClr val="EAEAEA"/>
          </a:solidFill>
          <a:ln w="9525" cap="flat" cmpd="sng" algn="ctr">
            <a:solidFill>
              <a:srgbClr val="808080"/>
            </a:solidFill>
            <a:prstDash val="solid"/>
          </a:ln>
          <a:effectLst/>
        </p:spPr>
        <p:txBody>
          <a:bodyPr lIns="91206" tIns="45608" rIns="91206" bIns="45608" anchor="ctr"/>
          <a:lstStyle/>
          <a:p>
            <a:pPr algn="just" defTabSz="912119">
              <a:defRPr/>
            </a:pPr>
            <a:r>
              <a:rPr lang="kk-KZ" sz="1100" dirty="0">
                <a:latin typeface="Arial Narrow" pitchFamily="34" charset="0"/>
              </a:rPr>
              <a:t>Ең төменгі операциялық шығындарды есептеу әдістемесін қоса алғанда, КПТҮ жалпы мүлкіне техникалық қызмет көрсету бойынша шығыстар сметасын есептеу әдістемесі</a:t>
            </a:r>
            <a:endParaRPr lang="ru-RU" sz="1100" kern="0" dirty="0">
              <a:solidFill>
                <a:srgbClr val="000000"/>
              </a:solidFill>
              <a:latin typeface="Arial Narrow" pitchFamily="34" charset="0"/>
            </a:endParaRPr>
          </a:p>
        </p:txBody>
      </p:sp>
      <p:sp>
        <p:nvSpPr>
          <p:cNvPr id="59" name="Прямоугольник 58"/>
          <p:cNvSpPr/>
          <p:nvPr/>
        </p:nvSpPr>
        <p:spPr>
          <a:xfrm>
            <a:off x="825019" y="3646092"/>
            <a:ext cx="2037161" cy="435674"/>
          </a:xfrm>
          <a:prstGeom prst="rect">
            <a:avLst/>
          </a:prstGeom>
          <a:solidFill>
            <a:srgbClr val="EAEAEA"/>
          </a:solidFill>
          <a:ln w="9525" cap="flat" cmpd="sng" algn="ctr">
            <a:solidFill>
              <a:srgbClr val="808080"/>
            </a:solidFill>
            <a:prstDash val="solid"/>
          </a:ln>
          <a:effectLst/>
        </p:spPr>
        <p:txBody>
          <a:bodyPr lIns="91206" tIns="45608" rIns="91206" bIns="45608" anchor="ctr"/>
          <a:lstStyle/>
          <a:p>
            <a:pPr defTabSz="912119">
              <a:defRPr/>
            </a:pP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Тұрғын</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үй</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инспекциясы</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туралы</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типтік</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ереже</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endParaRPr lang="ru-RU" sz="1200" kern="0" dirty="0">
              <a:solidFill>
                <a:srgbClr val="000000"/>
              </a:solidFill>
              <a:latin typeface="Arial Narrow" pitchFamily="34" charset="0"/>
            </a:endParaRPr>
          </a:p>
        </p:txBody>
      </p:sp>
      <p:sp>
        <p:nvSpPr>
          <p:cNvPr id="61" name="Oval 2"/>
          <p:cNvSpPr txBox="1">
            <a:spLocks/>
          </p:cNvSpPr>
          <p:nvPr>
            <p:custDataLst>
              <p:tags r:id="rId2"/>
            </p:custDataLst>
          </p:nvPr>
        </p:nvSpPr>
        <p:spPr>
          <a:xfrm>
            <a:off x="559229" y="2878765"/>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kk-KZ" sz="1200" b="1" kern="0" dirty="0">
                <a:solidFill>
                  <a:srgbClr val="FFFFFF"/>
                </a:solidFill>
                <a:latin typeface="Arial Narrow" pitchFamily="34" charset="0"/>
              </a:rPr>
              <a:t>2</a:t>
            </a:r>
            <a:endParaRPr lang="ru-RU" sz="1200" b="1" kern="0" dirty="0">
              <a:solidFill>
                <a:srgbClr val="FFFFFF"/>
              </a:solidFill>
              <a:latin typeface="Arial Narrow" pitchFamily="34" charset="0"/>
            </a:endParaRPr>
          </a:p>
        </p:txBody>
      </p:sp>
      <p:sp>
        <p:nvSpPr>
          <p:cNvPr id="62" name="Прямоугольник 61"/>
          <p:cNvSpPr/>
          <p:nvPr/>
        </p:nvSpPr>
        <p:spPr>
          <a:xfrm>
            <a:off x="829517" y="4156754"/>
            <a:ext cx="2036018" cy="1420111"/>
          </a:xfrm>
          <a:prstGeom prst="rect">
            <a:avLst/>
          </a:prstGeom>
          <a:solidFill>
            <a:schemeClr val="bg1">
              <a:lumMod val="95000"/>
            </a:schemeClr>
          </a:solidFill>
          <a:ln w="9525" cap="flat" cmpd="sng" algn="ctr">
            <a:solidFill>
              <a:srgbClr val="808080"/>
            </a:solidFill>
            <a:prstDash val="solid"/>
          </a:ln>
          <a:effectLst/>
        </p:spPr>
        <p:txBody>
          <a:bodyPr lIns="91206" tIns="45608" rIns="91206" bIns="45608" anchor="ctr"/>
          <a:lstStyle/>
          <a:p>
            <a:pPr algn="just">
              <a:spcAft>
                <a:spcPts val="0"/>
              </a:spcAft>
            </a:pPr>
            <a:r>
              <a:rPr lang="ru-RU" sz="1200" dirty="0" err="1">
                <a:latin typeface="Arial Narrow" pitchFamily="34" charset="0"/>
              </a:rPr>
              <a:t>Қарапайым</a:t>
            </a:r>
            <a:r>
              <a:rPr lang="ru-RU" sz="1200" dirty="0">
                <a:latin typeface="Arial Narrow" pitchFamily="34" charset="0"/>
              </a:rPr>
              <a:t> </a:t>
            </a:r>
            <a:r>
              <a:rPr lang="ru-RU" sz="1200" dirty="0" err="1">
                <a:latin typeface="Arial Narrow" pitchFamily="34" charset="0"/>
              </a:rPr>
              <a:t>серіктестік</a:t>
            </a:r>
            <a:r>
              <a:rPr lang="ru-RU" sz="1200" dirty="0">
                <a:latin typeface="Arial Narrow" pitchFamily="34" charset="0"/>
              </a:rPr>
              <a:t> </a:t>
            </a:r>
            <a:r>
              <a:rPr lang="ru-RU" sz="1200" dirty="0" err="1">
                <a:latin typeface="Arial Narrow" pitchFamily="34" charset="0"/>
              </a:rPr>
              <a:t>немесе</a:t>
            </a:r>
            <a:r>
              <a:rPr lang="ru-RU" sz="1200" dirty="0">
                <a:latin typeface="Arial Narrow" pitchFamily="34" charset="0"/>
              </a:rPr>
              <a:t> </a:t>
            </a:r>
            <a:r>
              <a:rPr lang="kk-KZ" sz="1200" dirty="0">
                <a:latin typeface="Arial Narrow" pitchFamily="34" charset="0"/>
              </a:rPr>
              <a:t>ҚКҚС-пен МИБ басқару органы </a:t>
            </a:r>
            <a:r>
              <a:rPr lang="ru-RU" sz="1200" dirty="0" err="1" smtClean="0">
                <a:latin typeface="Arial Narrow" pitchFamily="34" charset="0"/>
              </a:rPr>
              <a:t>және</a:t>
            </a:r>
            <a:r>
              <a:rPr lang="ru-RU" sz="1200" dirty="0" smtClean="0">
                <a:latin typeface="Arial Narrow" pitchFamily="34" charset="0"/>
              </a:rPr>
              <a:t>/</a:t>
            </a:r>
            <a:r>
              <a:rPr lang="ru-RU" sz="1200" dirty="0" err="1" smtClean="0">
                <a:latin typeface="Arial Narrow" pitchFamily="34" charset="0"/>
              </a:rPr>
              <a:t>немесе</a:t>
            </a:r>
            <a:r>
              <a:rPr lang="ru-RU" sz="1200" dirty="0" smtClean="0">
                <a:latin typeface="Arial Narrow" pitchFamily="34" charset="0"/>
              </a:rPr>
              <a:t> </a:t>
            </a:r>
            <a:r>
              <a:rPr lang="ru-RU" sz="1200" dirty="0" err="1">
                <a:latin typeface="Arial Narrow" pitchFamily="34" charset="0"/>
              </a:rPr>
              <a:t>басқарушы</a:t>
            </a:r>
            <a:r>
              <a:rPr lang="ru-RU" sz="1200" dirty="0">
                <a:latin typeface="Arial Narrow" pitchFamily="34" charset="0"/>
              </a:rPr>
              <a:t> </a:t>
            </a:r>
            <a:r>
              <a:rPr lang="ru-RU" sz="1200" dirty="0" err="1">
                <a:latin typeface="Arial Narrow" pitchFamily="34" charset="0"/>
              </a:rPr>
              <a:t>компаниямен</a:t>
            </a:r>
            <a:r>
              <a:rPr lang="kk-KZ" sz="1200" dirty="0">
                <a:latin typeface="Arial Narrow" pitchFamily="34" charset="0"/>
              </a:rPr>
              <a:t>,  </a:t>
            </a:r>
            <a:r>
              <a:rPr lang="ru-RU" sz="1200" dirty="0" err="1">
                <a:latin typeface="Arial Narrow" pitchFamily="34" charset="0"/>
              </a:rPr>
              <a:t>сондай-ақ</a:t>
            </a:r>
            <a:r>
              <a:rPr lang="ru-RU" sz="1200" dirty="0">
                <a:latin typeface="Arial Narrow" pitchFamily="34" charset="0"/>
              </a:rPr>
              <a:t> </a:t>
            </a:r>
            <a:r>
              <a:rPr lang="kk-KZ" sz="1200" dirty="0">
                <a:latin typeface="Arial Narrow" pitchFamily="34" charset="0"/>
              </a:rPr>
              <a:t>МИБ басқару органы ретінде </a:t>
            </a:r>
            <a:r>
              <a:rPr lang="ru-RU" sz="1200" dirty="0" err="1">
                <a:latin typeface="Arial Narrow" pitchFamily="34" charset="0"/>
              </a:rPr>
              <a:t>жалданған</a:t>
            </a:r>
            <a:r>
              <a:rPr lang="ru-RU" sz="1200" dirty="0">
                <a:latin typeface="Arial Narrow" pitchFamily="34" charset="0"/>
              </a:rPr>
              <a:t> </a:t>
            </a:r>
            <a:r>
              <a:rPr lang="ru-RU" sz="1200" dirty="0" err="1">
                <a:latin typeface="Arial Narrow" pitchFamily="34" charset="0"/>
              </a:rPr>
              <a:t>жеке</a:t>
            </a:r>
            <a:r>
              <a:rPr lang="ru-RU" sz="1200" dirty="0">
                <a:latin typeface="Arial Narrow" pitchFamily="34" charset="0"/>
              </a:rPr>
              <a:t> </a:t>
            </a:r>
            <a:r>
              <a:rPr lang="ru-RU" sz="1200" dirty="0" err="1">
                <a:latin typeface="Arial Narrow" pitchFamily="34" charset="0"/>
              </a:rPr>
              <a:t>тұлғамен</a:t>
            </a:r>
            <a:r>
              <a:rPr lang="kk-KZ" sz="1200" dirty="0">
                <a:latin typeface="Arial Narrow" pitchFamily="34" charset="0"/>
              </a:rPr>
              <a:t> типтік келісім шарт.</a:t>
            </a:r>
            <a:endParaRPr lang="ru-RU" sz="1200" dirty="0">
              <a:effectLst/>
              <a:latin typeface="Arial Narrow" pitchFamily="34" charset="0"/>
              <a:ea typeface="Times New Roman" panose="02020603050405020304" pitchFamily="18" charset="0"/>
            </a:endParaRPr>
          </a:p>
        </p:txBody>
      </p:sp>
      <p:sp>
        <p:nvSpPr>
          <p:cNvPr id="66" name="Oval 2"/>
          <p:cNvSpPr txBox="1">
            <a:spLocks/>
          </p:cNvSpPr>
          <p:nvPr>
            <p:custDataLst>
              <p:tags r:id="rId3"/>
            </p:custDataLst>
          </p:nvPr>
        </p:nvSpPr>
        <p:spPr>
          <a:xfrm>
            <a:off x="559229" y="3658425"/>
            <a:ext cx="307967" cy="282575"/>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kk-KZ" sz="1200" b="1" kern="0" dirty="0">
                <a:solidFill>
                  <a:srgbClr val="FFFFFF"/>
                </a:solidFill>
                <a:latin typeface="Arial Narrow" pitchFamily="34" charset="0"/>
              </a:rPr>
              <a:t>3</a:t>
            </a:r>
            <a:endParaRPr lang="ru-RU" sz="1200" b="1" kern="0" dirty="0">
              <a:solidFill>
                <a:srgbClr val="FFFFFF"/>
              </a:solidFill>
              <a:latin typeface="Arial Narrow" pitchFamily="34" charset="0"/>
            </a:endParaRPr>
          </a:p>
        </p:txBody>
      </p:sp>
      <p:sp>
        <p:nvSpPr>
          <p:cNvPr id="67" name="Прямоугольник 66"/>
          <p:cNvSpPr/>
          <p:nvPr/>
        </p:nvSpPr>
        <p:spPr>
          <a:xfrm>
            <a:off x="824503" y="5688239"/>
            <a:ext cx="2036018" cy="406733"/>
          </a:xfrm>
          <a:prstGeom prst="rect">
            <a:avLst/>
          </a:prstGeom>
          <a:solidFill>
            <a:srgbClr val="EAEAEA"/>
          </a:solidFill>
          <a:ln w="9525" cap="flat" cmpd="sng" algn="ctr">
            <a:solidFill>
              <a:srgbClr val="808080"/>
            </a:solidFill>
            <a:prstDash val="solid"/>
          </a:ln>
          <a:effectLst/>
        </p:spPr>
        <p:txBody>
          <a:bodyPr lIns="91206" tIns="45608" rIns="91206" bIns="45608" anchor="ctr"/>
          <a:lstStyle/>
          <a:p>
            <a:pPr algn="just" defTabSz="912119">
              <a:defRPr/>
            </a:pP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КТҮ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ортақ</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мүлкін</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күтіп</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ұстау</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Ережелері</a:t>
            </a:r>
            <a:endParaRPr lang="ru-RU" sz="1200" kern="0" dirty="0">
              <a:solidFill>
                <a:srgbClr val="000000"/>
              </a:solidFill>
              <a:latin typeface="Arial Narrow" pitchFamily="34" charset="0"/>
              <a:cs typeface="Shonar Bangla" panose="020B0502040204020203" pitchFamily="34" charset="0"/>
            </a:endParaRPr>
          </a:p>
        </p:txBody>
      </p:sp>
      <p:sp>
        <p:nvSpPr>
          <p:cNvPr id="68" name="Oval 2"/>
          <p:cNvSpPr txBox="1">
            <a:spLocks/>
          </p:cNvSpPr>
          <p:nvPr>
            <p:custDataLst>
              <p:tags r:id="rId4"/>
            </p:custDataLst>
          </p:nvPr>
        </p:nvSpPr>
        <p:spPr>
          <a:xfrm>
            <a:off x="559229" y="4676440"/>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kk-KZ" sz="1200" b="1" kern="0" dirty="0">
                <a:solidFill>
                  <a:srgbClr val="FFFFFF"/>
                </a:solidFill>
                <a:latin typeface="Arial Narrow" pitchFamily="34" charset="0"/>
              </a:rPr>
              <a:t>4</a:t>
            </a:r>
            <a:endParaRPr lang="ru-RU" sz="1200" b="1" kern="0" dirty="0">
              <a:solidFill>
                <a:srgbClr val="FFFFFF"/>
              </a:solidFill>
              <a:latin typeface="Arial Narrow" pitchFamily="34" charset="0"/>
            </a:endParaRPr>
          </a:p>
        </p:txBody>
      </p:sp>
      <p:sp>
        <p:nvSpPr>
          <p:cNvPr id="69" name="Oval 2"/>
          <p:cNvSpPr txBox="1">
            <a:spLocks/>
          </p:cNvSpPr>
          <p:nvPr>
            <p:custDataLst>
              <p:tags r:id="rId5"/>
            </p:custDataLst>
          </p:nvPr>
        </p:nvSpPr>
        <p:spPr>
          <a:xfrm>
            <a:off x="8540757" y="1523827"/>
            <a:ext cx="307967" cy="282575"/>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ru-RU" sz="1200" b="1" kern="0" dirty="0" smtClean="0">
                <a:solidFill>
                  <a:srgbClr val="FFFFFF"/>
                </a:solidFill>
                <a:latin typeface="Arial Narrow" pitchFamily="34" charset="0"/>
              </a:rPr>
              <a:t>10</a:t>
            </a:r>
            <a:endParaRPr lang="ru-RU" sz="1200" b="1" kern="0" dirty="0">
              <a:solidFill>
                <a:srgbClr val="FFFFFF"/>
              </a:solidFill>
              <a:latin typeface="Arial Narrow" pitchFamily="34" charset="0"/>
            </a:endParaRPr>
          </a:p>
        </p:txBody>
      </p:sp>
      <p:sp>
        <p:nvSpPr>
          <p:cNvPr id="70" name="Oval 2"/>
          <p:cNvSpPr txBox="1">
            <a:spLocks/>
          </p:cNvSpPr>
          <p:nvPr>
            <p:custDataLst>
              <p:tags r:id="rId6"/>
            </p:custDataLst>
          </p:nvPr>
        </p:nvSpPr>
        <p:spPr>
          <a:xfrm>
            <a:off x="8540757" y="2442302"/>
            <a:ext cx="307967" cy="282575"/>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ru-RU" sz="1200" b="1" kern="0" dirty="0" smtClean="0">
                <a:solidFill>
                  <a:srgbClr val="FFFFFF"/>
                </a:solidFill>
                <a:latin typeface="Arial Narrow" pitchFamily="34" charset="0"/>
              </a:rPr>
              <a:t>11</a:t>
            </a:r>
            <a:endParaRPr lang="ru-RU" sz="1200" b="1" kern="0" dirty="0">
              <a:solidFill>
                <a:srgbClr val="FFFFFF"/>
              </a:solidFill>
              <a:latin typeface="Arial Narrow" pitchFamily="34" charset="0"/>
            </a:endParaRPr>
          </a:p>
        </p:txBody>
      </p:sp>
      <p:sp>
        <p:nvSpPr>
          <p:cNvPr id="71" name="Oval 2"/>
          <p:cNvSpPr txBox="1">
            <a:spLocks/>
          </p:cNvSpPr>
          <p:nvPr>
            <p:custDataLst>
              <p:tags r:id="rId7"/>
            </p:custDataLst>
          </p:nvPr>
        </p:nvSpPr>
        <p:spPr>
          <a:xfrm>
            <a:off x="8540757" y="3341560"/>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ru-RU" sz="1200" b="1" kern="0" dirty="0" smtClean="0">
                <a:solidFill>
                  <a:srgbClr val="FFFFFF"/>
                </a:solidFill>
                <a:latin typeface="Arial Narrow" pitchFamily="34" charset="0"/>
              </a:rPr>
              <a:t>12</a:t>
            </a:r>
            <a:endParaRPr lang="ru-RU" sz="1200" b="1" kern="0" dirty="0">
              <a:solidFill>
                <a:srgbClr val="FFFFFF"/>
              </a:solidFill>
              <a:latin typeface="Arial Narrow" pitchFamily="34" charset="0"/>
            </a:endParaRPr>
          </a:p>
        </p:txBody>
      </p:sp>
      <p:sp>
        <p:nvSpPr>
          <p:cNvPr id="72" name="Oval 2"/>
          <p:cNvSpPr txBox="1">
            <a:spLocks/>
          </p:cNvSpPr>
          <p:nvPr>
            <p:custDataLst>
              <p:tags r:id="rId8"/>
            </p:custDataLst>
          </p:nvPr>
        </p:nvSpPr>
        <p:spPr>
          <a:xfrm>
            <a:off x="8540757" y="4006482"/>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ru-RU" sz="1200" b="1" kern="0" dirty="0" smtClean="0">
                <a:solidFill>
                  <a:srgbClr val="FFFFFF"/>
                </a:solidFill>
                <a:latin typeface="Arial Narrow" pitchFamily="34" charset="0"/>
              </a:rPr>
              <a:t>13</a:t>
            </a:r>
            <a:endParaRPr lang="ru-RU" sz="1200" b="1" kern="0" dirty="0">
              <a:solidFill>
                <a:srgbClr val="FFFFFF"/>
              </a:solidFill>
              <a:latin typeface="Arial Narrow" pitchFamily="34" charset="0"/>
            </a:endParaRPr>
          </a:p>
        </p:txBody>
      </p:sp>
      <p:sp>
        <p:nvSpPr>
          <p:cNvPr id="73" name="Прямоугольник 72"/>
          <p:cNvSpPr/>
          <p:nvPr/>
        </p:nvSpPr>
        <p:spPr>
          <a:xfrm>
            <a:off x="6286983" y="1236184"/>
            <a:ext cx="2159482" cy="718188"/>
          </a:xfrm>
          <a:prstGeom prst="rect">
            <a:avLst/>
          </a:prstGeom>
          <a:solidFill>
            <a:srgbClr val="EAEAEA"/>
          </a:solidFill>
          <a:ln w="9525" cap="flat" cmpd="sng" algn="ctr">
            <a:solidFill>
              <a:srgbClr val="808080"/>
            </a:solidFill>
            <a:prstDash val="solid"/>
          </a:ln>
          <a:effectLst/>
        </p:spPr>
        <p:txBody>
          <a:bodyPr lIns="91206" tIns="45608" rIns="91206" bIns="45608" anchor="ctr"/>
          <a:lstStyle/>
          <a:p>
            <a:pPr algn="just" defTabSz="912119">
              <a:defRPr/>
            </a:pPr>
            <a:r>
              <a:rPr lang="ru-RU" sz="1200" dirty="0" smtClean="0">
                <a:latin typeface="Arial Narrow" pitchFamily="34" charset="0"/>
                <a:ea typeface="Calibri" panose="020F0502020204030204" pitchFamily="34" charset="0"/>
              </a:rPr>
              <a:t>ТҚ </a:t>
            </a:r>
            <a:r>
              <a:rPr lang="ru-RU" sz="1200" dirty="0" err="1" smtClean="0">
                <a:latin typeface="Arial Narrow" pitchFamily="34" charset="0"/>
                <a:ea typeface="Calibri" panose="020F0502020204030204" pitchFamily="34" charset="0"/>
              </a:rPr>
              <a:t>және</a:t>
            </a:r>
            <a:r>
              <a:rPr lang="ru-RU" sz="1200" dirty="0" smtClean="0">
                <a:latin typeface="Arial Narrow" pitchFamily="34" charset="0"/>
                <a:ea typeface="Calibri" panose="020F0502020204030204" pitchFamily="34" charset="0"/>
              </a:rPr>
              <a:t> ТКШ </a:t>
            </a:r>
            <a:r>
              <a:rPr lang="ru-RU" sz="1200" dirty="0" err="1" smtClean="0">
                <a:latin typeface="Arial Narrow" pitchFamily="34" charset="0"/>
                <a:ea typeface="Calibri" panose="020F0502020204030204" pitchFamily="34" charset="0"/>
              </a:rPr>
              <a:t>біріңғай</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ақпараттық</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жүйесін</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қалыптасуы</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және</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қызмет</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етуі</a:t>
            </a:r>
            <a:endParaRPr lang="ru-RU" sz="1200" kern="0" dirty="0">
              <a:solidFill>
                <a:srgbClr val="000000"/>
              </a:solidFill>
              <a:latin typeface="Arial Narrow" pitchFamily="34" charset="0"/>
            </a:endParaRPr>
          </a:p>
        </p:txBody>
      </p:sp>
      <p:sp>
        <p:nvSpPr>
          <p:cNvPr id="74" name="Прямоугольник 73"/>
          <p:cNvSpPr/>
          <p:nvPr/>
        </p:nvSpPr>
        <p:spPr>
          <a:xfrm>
            <a:off x="6281082" y="2010599"/>
            <a:ext cx="2165383" cy="1120738"/>
          </a:xfrm>
          <a:prstGeom prst="rect">
            <a:avLst/>
          </a:prstGeom>
          <a:solidFill>
            <a:srgbClr val="EAEAEA"/>
          </a:solidFill>
          <a:ln w="9525" cap="flat" cmpd="sng" algn="ctr">
            <a:solidFill>
              <a:srgbClr val="808080"/>
            </a:solidFill>
            <a:prstDash val="solid"/>
          </a:ln>
          <a:effectLst/>
        </p:spPr>
        <p:txBody>
          <a:bodyPr lIns="91206" tIns="45608" rIns="91206" bIns="45608" anchor="ctr"/>
          <a:lstStyle/>
          <a:p>
            <a:r>
              <a:rPr lang="kk-KZ" sz="1050" dirty="0">
                <a:latin typeface="Arial Narrow" pitchFamily="34" charset="0"/>
              </a:rPr>
              <a:t>Тексеру парақтарының нысандары және ТҚ қорын басқару саласындағы мемлекеттік бақылау бойынша тәуекел дәрежесін бағалау критерийлері, газ және газбен қамтамасыз ету және өнеркәсіптік қауіпсіздік саласындағы </a:t>
            </a:r>
            <a:r>
              <a:rPr lang="kk-KZ" sz="1050" dirty="0" smtClean="0">
                <a:latin typeface="Arial Narrow" pitchFamily="34" charset="0"/>
              </a:rPr>
              <a:t>қадағалау</a:t>
            </a:r>
            <a:endParaRPr lang="ru-RU" sz="1050" dirty="0">
              <a:latin typeface="Arial Narrow" pitchFamily="34" charset="0"/>
            </a:endParaRPr>
          </a:p>
        </p:txBody>
      </p:sp>
      <p:sp>
        <p:nvSpPr>
          <p:cNvPr id="76" name="Прямоугольник 75"/>
          <p:cNvSpPr/>
          <p:nvPr/>
        </p:nvSpPr>
        <p:spPr>
          <a:xfrm>
            <a:off x="6284299" y="3183276"/>
            <a:ext cx="2171561" cy="752897"/>
          </a:xfrm>
          <a:prstGeom prst="rect">
            <a:avLst/>
          </a:prstGeom>
          <a:solidFill>
            <a:srgbClr val="EAEAEA"/>
          </a:solidFill>
          <a:ln w="9525" cap="flat" cmpd="sng" algn="ctr">
            <a:solidFill>
              <a:srgbClr val="808080"/>
            </a:solidFill>
            <a:prstDash val="solid"/>
          </a:ln>
          <a:effectLst/>
        </p:spPr>
        <p:txBody>
          <a:bodyPr lIns="91206" tIns="45608" rIns="91206" bIns="45608" anchor="ctr"/>
          <a:lstStyle/>
          <a:p>
            <a:pPr algn="just" defTabSz="912119">
              <a:defRPr/>
            </a:pPr>
            <a:r>
              <a:rPr lang="ru-RU" sz="1200" dirty="0" err="1" smtClean="0">
                <a:latin typeface="Arial Narrow" pitchFamily="34" charset="0"/>
                <a:ea typeface="Calibri" panose="020F0502020204030204" pitchFamily="34" charset="0"/>
              </a:rPr>
              <a:t>Көп</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пәтерлі</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тұрғын</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үйді</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басқару</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бойынша</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қарапайым</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серіктестіктіңі</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бірлескен</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қызметі</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туралы</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типтік</a:t>
            </a:r>
            <a:r>
              <a:rPr lang="ru-RU" sz="1200" dirty="0" smtClean="0">
                <a:latin typeface="Arial Narrow" pitchFamily="34" charset="0"/>
                <a:ea typeface="Calibri" panose="020F0502020204030204" pitchFamily="34" charset="0"/>
              </a:rPr>
              <a:t> </a:t>
            </a:r>
            <a:r>
              <a:rPr lang="ru-RU" sz="1200" dirty="0" err="1" smtClean="0">
                <a:latin typeface="Arial Narrow" pitchFamily="34" charset="0"/>
                <a:ea typeface="Calibri" panose="020F0502020204030204" pitchFamily="34" charset="0"/>
              </a:rPr>
              <a:t>шарт</a:t>
            </a:r>
            <a:endParaRPr lang="ru-RU" sz="1200" kern="0" dirty="0">
              <a:solidFill>
                <a:srgbClr val="000000"/>
              </a:solidFill>
              <a:latin typeface="Arial Narrow" pitchFamily="34" charset="0"/>
            </a:endParaRPr>
          </a:p>
        </p:txBody>
      </p:sp>
      <p:sp>
        <p:nvSpPr>
          <p:cNvPr id="77" name="Прямоугольник 76"/>
          <p:cNvSpPr/>
          <p:nvPr/>
        </p:nvSpPr>
        <p:spPr>
          <a:xfrm>
            <a:off x="6290477" y="3992172"/>
            <a:ext cx="2162166" cy="436818"/>
          </a:xfrm>
          <a:prstGeom prst="rect">
            <a:avLst/>
          </a:prstGeom>
          <a:solidFill>
            <a:srgbClr val="EAEAEA"/>
          </a:solidFill>
          <a:ln w="9525" cap="flat" cmpd="sng" algn="ctr">
            <a:solidFill>
              <a:srgbClr val="808080"/>
            </a:solidFill>
            <a:prstDash val="solid"/>
          </a:ln>
          <a:effectLst/>
        </p:spPr>
        <p:txBody>
          <a:bodyPr lIns="91206" tIns="45608" rIns="91206" bIns="45608" anchor="ctr"/>
          <a:lstStyle/>
          <a:p>
            <a:pPr defTabSz="912119">
              <a:defRPr/>
            </a:pPr>
            <a:r>
              <a:rPr lang="ru-RU" sz="1200" dirty="0" err="1" smtClean="0">
                <a:solidFill>
                  <a:srgbClr val="000000"/>
                </a:solidFill>
                <a:latin typeface="Arial Narrow" pitchFamily="34" charset="0"/>
                <a:ea typeface="Calibri" panose="020F0502020204030204" pitchFamily="34" charset="0"/>
              </a:rPr>
              <a:t>Тұрғын</a:t>
            </a:r>
            <a:r>
              <a:rPr lang="ru-RU" sz="1200" dirty="0" smtClean="0">
                <a:solidFill>
                  <a:srgbClr val="000000"/>
                </a:solidFill>
                <a:latin typeface="Arial Narrow" pitchFamily="34" charset="0"/>
                <a:ea typeface="Calibri" panose="020F0502020204030204" pitchFamily="34" charset="0"/>
              </a:rPr>
              <a:t> </a:t>
            </a:r>
            <a:r>
              <a:rPr lang="ru-RU" sz="1200" dirty="0" err="1" smtClean="0">
                <a:solidFill>
                  <a:srgbClr val="000000"/>
                </a:solidFill>
                <a:latin typeface="Arial Narrow" pitchFamily="34" charset="0"/>
                <a:ea typeface="Calibri" panose="020F0502020204030204" pitchFamily="34" charset="0"/>
              </a:rPr>
              <a:t>үйді</a:t>
            </a:r>
            <a:r>
              <a:rPr lang="ru-RU" sz="1200" dirty="0" smtClean="0">
                <a:solidFill>
                  <a:srgbClr val="000000"/>
                </a:solidFill>
                <a:latin typeface="Arial Narrow" pitchFamily="34" charset="0"/>
                <a:ea typeface="Calibri" panose="020F0502020204030204" pitchFamily="34" charset="0"/>
              </a:rPr>
              <a:t> </a:t>
            </a:r>
            <a:r>
              <a:rPr lang="ru-RU" sz="1200" dirty="0" err="1" smtClean="0">
                <a:solidFill>
                  <a:srgbClr val="000000"/>
                </a:solidFill>
                <a:latin typeface="Arial Narrow" pitchFamily="34" charset="0"/>
                <a:ea typeface="Calibri" panose="020F0502020204030204" pitchFamily="34" charset="0"/>
              </a:rPr>
              <a:t>жалдаудың</a:t>
            </a:r>
            <a:r>
              <a:rPr lang="ru-RU" sz="1200" dirty="0" smtClean="0">
                <a:solidFill>
                  <a:srgbClr val="000000"/>
                </a:solidFill>
                <a:latin typeface="Arial Narrow" pitchFamily="34" charset="0"/>
                <a:ea typeface="Calibri" panose="020F0502020204030204" pitchFamily="34" charset="0"/>
              </a:rPr>
              <a:t> (</a:t>
            </a:r>
            <a:r>
              <a:rPr lang="ru-RU" sz="1200" dirty="0" err="1" smtClean="0">
                <a:solidFill>
                  <a:srgbClr val="000000"/>
                </a:solidFill>
                <a:latin typeface="Arial Narrow" pitchFamily="34" charset="0"/>
                <a:ea typeface="Calibri" panose="020F0502020204030204" pitchFamily="34" charset="0"/>
              </a:rPr>
              <a:t>жалға</a:t>
            </a:r>
            <a:r>
              <a:rPr lang="ru-RU" sz="1200" dirty="0" smtClean="0">
                <a:solidFill>
                  <a:srgbClr val="000000"/>
                </a:solidFill>
                <a:latin typeface="Arial Narrow" pitchFamily="34" charset="0"/>
                <a:ea typeface="Calibri" panose="020F0502020204030204" pitchFamily="34" charset="0"/>
              </a:rPr>
              <a:t> </a:t>
            </a:r>
            <a:r>
              <a:rPr lang="ru-RU" sz="1200" dirty="0" err="1" smtClean="0">
                <a:solidFill>
                  <a:srgbClr val="000000"/>
                </a:solidFill>
                <a:latin typeface="Arial Narrow" pitchFamily="34" charset="0"/>
                <a:ea typeface="Calibri" panose="020F0502020204030204" pitchFamily="34" charset="0"/>
              </a:rPr>
              <a:t>берудің</a:t>
            </a:r>
            <a:r>
              <a:rPr lang="ru-RU" sz="1200" dirty="0" smtClean="0">
                <a:solidFill>
                  <a:srgbClr val="000000"/>
                </a:solidFill>
                <a:latin typeface="Arial Narrow" pitchFamily="34" charset="0"/>
                <a:ea typeface="Calibri" panose="020F0502020204030204" pitchFamily="34" charset="0"/>
              </a:rPr>
              <a:t>) </a:t>
            </a:r>
            <a:r>
              <a:rPr lang="ru-RU" sz="1200" dirty="0" err="1" smtClean="0">
                <a:solidFill>
                  <a:srgbClr val="000000"/>
                </a:solidFill>
                <a:latin typeface="Arial Narrow" pitchFamily="34" charset="0"/>
                <a:ea typeface="Calibri" panose="020F0502020204030204" pitchFamily="34" charset="0"/>
              </a:rPr>
              <a:t>типтік</a:t>
            </a:r>
            <a:r>
              <a:rPr lang="ru-RU" sz="1200" dirty="0" smtClean="0">
                <a:solidFill>
                  <a:srgbClr val="000000"/>
                </a:solidFill>
                <a:latin typeface="Arial Narrow" pitchFamily="34" charset="0"/>
                <a:ea typeface="Calibri" panose="020F0502020204030204" pitchFamily="34" charset="0"/>
              </a:rPr>
              <a:t> </a:t>
            </a:r>
            <a:r>
              <a:rPr lang="ru-RU" sz="1200" dirty="0" err="1" smtClean="0">
                <a:solidFill>
                  <a:srgbClr val="000000"/>
                </a:solidFill>
                <a:latin typeface="Arial Narrow" pitchFamily="34" charset="0"/>
                <a:ea typeface="Calibri" panose="020F0502020204030204" pitchFamily="34" charset="0"/>
              </a:rPr>
              <a:t>шарты</a:t>
            </a:r>
            <a:endParaRPr lang="ru-RU" sz="1200" kern="0" dirty="0">
              <a:solidFill>
                <a:srgbClr val="000000"/>
              </a:solidFill>
              <a:latin typeface="Arial Narrow" pitchFamily="34" charset="0"/>
            </a:endParaRPr>
          </a:p>
        </p:txBody>
      </p:sp>
      <p:cxnSp>
        <p:nvCxnSpPr>
          <p:cNvPr id="78" name="Прямая соединительная линия 32"/>
          <p:cNvCxnSpPr>
            <a:cxnSpLocks noChangeShapeType="1"/>
          </p:cNvCxnSpPr>
          <p:nvPr/>
        </p:nvCxnSpPr>
        <p:spPr bwMode="auto">
          <a:xfrm flipH="1">
            <a:off x="6179231" y="1472528"/>
            <a:ext cx="1191" cy="4363417"/>
          </a:xfrm>
          <a:prstGeom prst="line">
            <a:avLst/>
          </a:prstGeom>
          <a:noFill/>
          <a:ln w="6350" algn="ctr">
            <a:solidFill>
              <a:srgbClr val="808080"/>
            </a:solidFill>
            <a:prstDash val="sysDot"/>
            <a:round/>
            <a:headEnd/>
            <a:tailEnd/>
          </a:ln>
          <a:extLst>
            <a:ext uri="{909E8E84-426E-40DD-AFC4-6F175D3DCCD1}">
              <a14:hiddenFill xmlns:a14="http://schemas.microsoft.com/office/drawing/2010/main">
                <a:noFill/>
              </a14:hiddenFill>
            </a:ext>
          </a:extLst>
        </p:spPr>
      </p:cxnSp>
      <p:sp>
        <p:nvSpPr>
          <p:cNvPr id="90" name="Oval 2"/>
          <p:cNvSpPr txBox="1">
            <a:spLocks/>
          </p:cNvSpPr>
          <p:nvPr>
            <p:custDataLst>
              <p:tags r:id="rId9"/>
            </p:custDataLst>
          </p:nvPr>
        </p:nvSpPr>
        <p:spPr>
          <a:xfrm>
            <a:off x="562914" y="5553458"/>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kk-KZ" sz="1200" b="1" kern="0" dirty="0">
                <a:solidFill>
                  <a:srgbClr val="FFFFFF"/>
                </a:solidFill>
                <a:latin typeface="Arial Narrow" pitchFamily="34" charset="0"/>
              </a:rPr>
              <a:t>5</a:t>
            </a:r>
            <a:endParaRPr lang="ru-RU" sz="1200" b="1" kern="0" dirty="0">
              <a:solidFill>
                <a:srgbClr val="FFFFFF"/>
              </a:solidFill>
              <a:latin typeface="Arial Narrow" pitchFamily="34" charset="0"/>
            </a:endParaRPr>
          </a:p>
        </p:txBody>
      </p:sp>
      <p:sp>
        <p:nvSpPr>
          <p:cNvPr id="91" name="Прямоугольник 90"/>
          <p:cNvSpPr/>
          <p:nvPr/>
        </p:nvSpPr>
        <p:spPr>
          <a:xfrm>
            <a:off x="6284299" y="4472666"/>
            <a:ext cx="2171561" cy="1006732"/>
          </a:xfrm>
          <a:prstGeom prst="rect">
            <a:avLst/>
          </a:prstGeom>
          <a:solidFill>
            <a:srgbClr val="EAEAEA"/>
          </a:solidFill>
          <a:ln w="9525" cap="flat" cmpd="sng" algn="ctr">
            <a:solidFill>
              <a:srgbClr val="808080"/>
            </a:solidFill>
            <a:prstDash val="solid"/>
          </a:ln>
          <a:effectLst/>
        </p:spPr>
        <p:txBody>
          <a:bodyPr lIns="91206" tIns="45608" rIns="91206" bIns="45608" anchor="ctr"/>
          <a:lstStyle/>
          <a:p>
            <a:r>
              <a:rPr lang="kk-KZ" sz="1200" dirty="0" smtClean="0"/>
              <a:t>КТҮ  </a:t>
            </a:r>
            <a:r>
              <a:rPr lang="kk-KZ" sz="1200" dirty="0"/>
              <a:t>басқаруға және қызмет көрсетуге арналған функцияларды орындау </a:t>
            </a:r>
            <a:r>
              <a:rPr lang="kk-KZ" sz="1200" dirty="0" smtClean="0"/>
              <a:t> үшін </a:t>
            </a:r>
            <a:r>
              <a:rPr lang="kk-KZ" sz="1200" dirty="0"/>
              <a:t>оқыту бағдарламасы мен сертификат беру </a:t>
            </a:r>
            <a:r>
              <a:rPr lang="kk-KZ" sz="1200" dirty="0" smtClean="0"/>
              <a:t>тәртібі</a:t>
            </a:r>
            <a:endParaRPr lang="ru-RU" sz="1200" dirty="0"/>
          </a:p>
        </p:txBody>
      </p:sp>
      <p:sp>
        <p:nvSpPr>
          <p:cNvPr id="92" name="Oval 2"/>
          <p:cNvSpPr txBox="1">
            <a:spLocks/>
          </p:cNvSpPr>
          <p:nvPr>
            <p:custDataLst>
              <p:tags r:id="rId10"/>
            </p:custDataLst>
          </p:nvPr>
        </p:nvSpPr>
        <p:spPr>
          <a:xfrm>
            <a:off x="8540757" y="4693270"/>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ru-RU" sz="1200" b="1" kern="0" dirty="0" smtClean="0">
                <a:solidFill>
                  <a:srgbClr val="FFFFFF"/>
                </a:solidFill>
                <a:latin typeface="Arial Narrow" pitchFamily="34" charset="0"/>
              </a:rPr>
              <a:t>14</a:t>
            </a:r>
            <a:endParaRPr lang="ru-RU" sz="1200" b="1" kern="0" dirty="0">
              <a:solidFill>
                <a:srgbClr val="FFFFFF"/>
              </a:solidFill>
              <a:latin typeface="Arial Narrow" pitchFamily="34" charset="0"/>
            </a:endParaRPr>
          </a:p>
        </p:txBody>
      </p:sp>
      <p:sp>
        <p:nvSpPr>
          <p:cNvPr id="93" name="Прямоугольник 92"/>
          <p:cNvSpPr/>
          <p:nvPr/>
        </p:nvSpPr>
        <p:spPr>
          <a:xfrm>
            <a:off x="3387421" y="2895964"/>
            <a:ext cx="2633684" cy="634317"/>
          </a:xfrm>
          <a:prstGeom prst="rect">
            <a:avLst/>
          </a:prstGeom>
          <a:solidFill>
            <a:srgbClr val="EAEAEA"/>
          </a:solidFill>
          <a:ln w="9525" cap="flat" cmpd="sng" algn="ctr">
            <a:solidFill>
              <a:srgbClr val="808080"/>
            </a:solidFill>
            <a:prstDash val="solid"/>
          </a:ln>
          <a:effectLst/>
        </p:spPr>
        <p:txBody>
          <a:bodyPr lIns="91206" tIns="45608" rIns="91206" bIns="45608" anchor="ctr"/>
          <a:lstStyle/>
          <a:p>
            <a:pPr algn="just">
              <a:spcAft>
                <a:spcPts val="0"/>
              </a:spcAft>
            </a:pPr>
            <a:r>
              <a:rPr lang="kk-KZ" spc="10" dirty="0" smtClean="0">
                <a:latin typeface="Arial Narrow" pitchFamily="34" charset="0"/>
              </a:rPr>
              <a:t>ТҚК пай жарналарын ТҚК пай жарнасының үлгілік нысанының шартымен төлеу Ережелері</a:t>
            </a:r>
            <a:endParaRPr lang="ru-RU" kern="0" dirty="0">
              <a:solidFill>
                <a:srgbClr val="000000"/>
              </a:solidFill>
              <a:latin typeface="Arial Narrow" pitchFamily="34" charset="0"/>
            </a:endParaRPr>
          </a:p>
        </p:txBody>
      </p:sp>
      <p:sp>
        <p:nvSpPr>
          <p:cNvPr id="94" name="Oval 2"/>
          <p:cNvSpPr txBox="1">
            <a:spLocks/>
          </p:cNvSpPr>
          <p:nvPr>
            <p:custDataLst>
              <p:tags r:id="rId11"/>
            </p:custDataLst>
          </p:nvPr>
        </p:nvSpPr>
        <p:spPr>
          <a:xfrm>
            <a:off x="3068693" y="3146274"/>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kk-KZ" sz="1200" b="1" kern="0" dirty="0">
                <a:solidFill>
                  <a:srgbClr val="FFFFFF"/>
                </a:solidFill>
                <a:latin typeface="Arial Narrow" pitchFamily="34" charset="0"/>
              </a:rPr>
              <a:t>7</a:t>
            </a:r>
            <a:endParaRPr lang="ru-RU" sz="1200" b="1" kern="0" dirty="0">
              <a:solidFill>
                <a:srgbClr val="FFFFFF"/>
              </a:solidFill>
              <a:latin typeface="Arial Narrow" pitchFamily="34" charset="0"/>
            </a:endParaRPr>
          </a:p>
        </p:txBody>
      </p:sp>
      <p:sp>
        <p:nvSpPr>
          <p:cNvPr id="96" name="Прямоугольник 95"/>
          <p:cNvSpPr/>
          <p:nvPr/>
        </p:nvSpPr>
        <p:spPr>
          <a:xfrm>
            <a:off x="3393272" y="3694142"/>
            <a:ext cx="2640169" cy="738664"/>
          </a:xfrm>
          <a:prstGeom prst="rect">
            <a:avLst/>
          </a:prstGeom>
          <a:solidFill>
            <a:schemeClr val="bg1">
              <a:lumMod val="95000"/>
            </a:schemeClr>
          </a:solidFill>
          <a:ln w="3175">
            <a:solidFill>
              <a:schemeClr val="accent3">
                <a:lumMod val="75000"/>
              </a:schemeClr>
            </a:solidFill>
          </a:ln>
        </p:spPr>
        <p:txBody>
          <a:bodyPr wrap="square">
            <a:spAutoFit/>
          </a:bodyPr>
          <a:lstStyle/>
          <a:p>
            <a:pPr algn="just" defTabSz="912119">
              <a:defRPr/>
            </a:pPr>
            <a:r>
              <a:rPr lang="ru-RU" dirty="0" smtClean="0">
                <a:latin typeface="Arial Narrow" pitchFamily="34" charset="0"/>
                <a:ea typeface="Calibri" panose="020F0502020204030204" pitchFamily="34" charset="0"/>
              </a:rPr>
              <a:t>МИБ </a:t>
            </a:r>
            <a:r>
              <a:rPr lang="ru-RU" dirty="0" err="1" smtClean="0">
                <a:latin typeface="Arial Narrow" pitchFamily="34" charset="0"/>
                <a:ea typeface="Calibri" panose="020F0502020204030204" pitchFamily="34" charset="0"/>
              </a:rPr>
              <a:t>және</a:t>
            </a:r>
            <a:r>
              <a:rPr lang="ru-RU" dirty="0" smtClean="0">
                <a:latin typeface="Arial Narrow" pitchFamily="34" charset="0"/>
                <a:ea typeface="Calibri" panose="020F0502020204030204" pitchFamily="34" charset="0"/>
              </a:rPr>
              <a:t> ТҚК </a:t>
            </a:r>
            <a:r>
              <a:rPr lang="ru-RU" dirty="0" err="1" smtClean="0">
                <a:latin typeface="Arial Narrow" pitchFamily="34" charset="0"/>
                <a:ea typeface="Calibri" panose="020F0502020204030204" pitchFamily="34" charset="0"/>
              </a:rPr>
              <a:t>типтік</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жарғысы</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және</a:t>
            </a:r>
            <a:r>
              <a:rPr lang="ru-RU" dirty="0" smtClean="0">
                <a:latin typeface="Arial Narrow" pitchFamily="34" charset="0"/>
                <a:ea typeface="Calibri" panose="020F0502020204030204" pitchFamily="34" charset="0"/>
              </a:rPr>
              <a:t> КТҮ </a:t>
            </a:r>
            <a:r>
              <a:rPr lang="ru-RU" dirty="0" err="1" smtClean="0">
                <a:latin typeface="Arial Narrow" pitchFamily="34" charset="0"/>
                <a:ea typeface="Calibri" panose="020F0502020204030204" pitchFamily="34" charset="0"/>
              </a:rPr>
              <a:t>басқару</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бойынша</a:t>
            </a:r>
            <a:r>
              <a:rPr lang="ru-RU" dirty="0" smtClean="0">
                <a:latin typeface="Arial Narrow" pitchFamily="34" charset="0"/>
                <a:ea typeface="Calibri" panose="020F0502020204030204" pitchFamily="34" charset="0"/>
              </a:rPr>
              <a:t> ай </a:t>
            </a:r>
            <a:r>
              <a:rPr lang="ru-RU" dirty="0" err="1" smtClean="0">
                <a:latin typeface="Arial Narrow" pitchFamily="34" charset="0"/>
                <a:ea typeface="Calibri" panose="020F0502020204030204" pitchFamily="34" charset="0"/>
              </a:rPr>
              <a:t>сайынғы</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есеп</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нысаны</a:t>
            </a:r>
            <a:endParaRPr lang="ru-RU" cap="small" dirty="0">
              <a:latin typeface="Arial Narrow" pitchFamily="34" charset="0"/>
              <a:cs typeface="Tahoma" pitchFamily="34" charset="0"/>
            </a:endParaRPr>
          </a:p>
        </p:txBody>
      </p:sp>
      <p:sp>
        <p:nvSpPr>
          <p:cNvPr id="97" name="Oval 2"/>
          <p:cNvSpPr txBox="1">
            <a:spLocks/>
          </p:cNvSpPr>
          <p:nvPr>
            <p:custDataLst>
              <p:tags r:id="rId12"/>
            </p:custDataLst>
          </p:nvPr>
        </p:nvSpPr>
        <p:spPr>
          <a:xfrm>
            <a:off x="3067083" y="3774378"/>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kk-KZ" sz="1200" b="1" kern="0" dirty="0">
                <a:solidFill>
                  <a:srgbClr val="FFFFFF"/>
                </a:solidFill>
                <a:latin typeface="Arial Narrow" pitchFamily="34" charset="0"/>
              </a:rPr>
              <a:t>8</a:t>
            </a:r>
            <a:endParaRPr lang="ru-RU" sz="1200" b="1" kern="0" dirty="0">
              <a:solidFill>
                <a:srgbClr val="FFFFFF"/>
              </a:solidFill>
              <a:latin typeface="Arial Narrow" pitchFamily="34" charset="0"/>
            </a:endParaRPr>
          </a:p>
        </p:txBody>
      </p:sp>
      <p:sp>
        <p:nvSpPr>
          <p:cNvPr id="101" name="Прямоугольник 100"/>
          <p:cNvSpPr/>
          <p:nvPr/>
        </p:nvSpPr>
        <p:spPr>
          <a:xfrm>
            <a:off x="3387420" y="2321176"/>
            <a:ext cx="2630234" cy="461665"/>
          </a:xfrm>
          <a:prstGeom prst="rect">
            <a:avLst/>
          </a:prstGeom>
          <a:solidFill>
            <a:schemeClr val="bg1">
              <a:lumMod val="95000"/>
            </a:schemeClr>
          </a:solidFill>
          <a:ln w="3175">
            <a:solidFill>
              <a:schemeClr val="accent3">
                <a:lumMod val="75000"/>
              </a:schemeClr>
            </a:solidFill>
          </a:ln>
        </p:spPr>
        <p:txBody>
          <a:bodyPr wrap="square">
            <a:spAutoFit/>
          </a:bodyPr>
          <a:lstStyle/>
          <a:p>
            <a:pPr algn="just"/>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Тұрғын</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үй</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коммуналдық</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қызметтерінің</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тізбесі</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және</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оларды</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көрсету</a:t>
            </a:r>
            <a:r>
              <a:rPr lang="ru-RU" sz="1200" dirty="0" smtClean="0">
                <a:solidFill>
                  <a:srgbClr val="000000"/>
                </a:solidFill>
                <a:latin typeface="Arial Narrow" pitchFamily="34" charset="0"/>
                <a:ea typeface="Calibri" panose="020F0502020204030204" pitchFamily="34" charset="0"/>
                <a:cs typeface="Times New Roman" panose="02020603050405020304" pitchFamily="18" charset="0"/>
              </a:rPr>
              <a:t> </a:t>
            </a:r>
            <a:r>
              <a:rPr lang="ru-RU" sz="1200" dirty="0" err="1" smtClean="0">
                <a:solidFill>
                  <a:srgbClr val="000000"/>
                </a:solidFill>
                <a:latin typeface="Arial Narrow" pitchFamily="34" charset="0"/>
                <a:ea typeface="Calibri" panose="020F0502020204030204" pitchFamily="34" charset="0"/>
                <a:cs typeface="Times New Roman" panose="02020603050405020304" pitchFamily="18" charset="0"/>
              </a:rPr>
              <a:t>ережесі</a:t>
            </a:r>
            <a:endParaRPr lang="ru-RU" sz="1200" dirty="0">
              <a:latin typeface="Arial Narrow" pitchFamily="34" charset="0"/>
            </a:endParaRPr>
          </a:p>
        </p:txBody>
      </p:sp>
      <p:sp>
        <p:nvSpPr>
          <p:cNvPr id="102" name="Oval 2"/>
          <p:cNvSpPr txBox="1">
            <a:spLocks/>
          </p:cNvSpPr>
          <p:nvPr>
            <p:custDataLst>
              <p:tags r:id="rId13"/>
            </p:custDataLst>
          </p:nvPr>
        </p:nvSpPr>
        <p:spPr>
          <a:xfrm>
            <a:off x="3057423" y="2558206"/>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kk-KZ" sz="1200" b="1" kern="0" dirty="0">
                <a:solidFill>
                  <a:srgbClr val="FFFFFF"/>
                </a:solidFill>
                <a:latin typeface="Arial Narrow" pitchFamily="34" charset="0"/>
              </a:rPr>
              <a:t>6</a:t>
            </a:r>
            <a:endParaRPr lang="ru-RU" sz="1200" b="1" kern="0" dirty="0">
              <a:solidFill>
                <a:srgbClr val="FFFFFF"/>
              </a:solidFill>
              <a:latin typeface="Arial Narrow" pitchFamily="34" charset="0"/>
            </a:endParaRPr>
          </a:p>
        </p:txBody>
      </p:sp>
      <p:sp>
        <p:nvSpPr>
          <p:cNvPr id="103" name="Rectangle 1"/>
          <p:cNvSpPr>
            <a:spLocks noChangeArrowheads="1"/>
          </p:cNvSpPr>
          <p:nvPr/>
        </p:nvSpPr>
        <p:spPr bwMode="auto">
          <a:xfrm>
            <a:off x="3390364" y="4426500"/>
            <a:ext cx="2636949" cy="738664"/>
          </a:xfrm>
          <a:prstGeom prst="rect">
            <a:avLst/>
          </a:prstGeom>
          <a:solidFill>
            <a:schemeClr val="bg1">
              <a:lumMod val="95000"/>
            </a:schemeClr>
          </a:solidFill>
          <a:ln w="3175">
            <a:solidFill>
              <a:schemeClr val="accent3">
                <a:lumMod val="75000"/>
              </a:schemeClr>
            </a:solidFill>
            <a:miter lim="800000"/>
            <a:headEnd/>
            <a:tailEnd/>
          </a:ln>
          <a:effectLst/>
        </p:spPr>
        <p:txBody>
          <a:bodyPr vert="horz" wrap="square" lIns="91440" tIns="45720" rIns="91440" bIns="45720" numCol="1" anchor="ctr" anchorCtr="0" compatLnSpc="1">
            <a:prstTxWarp prst="textNoShape">
              <a:avLst/>
            </a:prstTxWarp>
            <a:spAutoFit/>
          </a:bodyPr>
          <a:lstStyle/>
          <a:p>
            <a:pPr lvl="0" algn="just" fontAlgn="base">
              <a:spcBef>
                <a:spcPct val="0"/>
              </a:spcBef>
              <a:spcAft>
                <a:spcPct val="0"/>
              </a:spcAft>
            </a:pPr>
            <a:r>
              <a:rPr lang="ru-RU" dirty="0" err="1" smtClean="0">
                <a:latin typeface="Arial Narrow" pitchFamily="34" charset="0"/>
                <a:ea typeface="Calibri" panose="020F0502020204030204" pitchFamily="34" charset="0"/>
              </a:rPr>
              <a:t>Тұрғын</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үй</a:t>
            </a:r>
            <a:r>
              <a:rPr lang="ru-RU" dirty="0" err="1">
                <a:latin typeface="Arial Narrow" pitchFamily="34" charset="0"/>
                <a:ea typeface="Calibri" panose="020F0502020204030204" pitchFamily="34" charset="0"/>
              </a:rPr>
              <a:t>-</a:t>
            </a:r>
            <a:r>
              <a:rPr lang="ru-RU" dirty="0" err="1" smtClean="0">
                <a:latin typeface="Arial Narrow" pitchFamily="34" charset="0"/>
                <a:ea typeface="Calibri" panose="020F0502020204030204" pitchFamily="34" charset="0"/>
              </a:rPr>
              <a:t>құрылыс</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кооперативіне</a:t>
            </a:r>
            <a:r>
              <a:rPr lang="ru-RU" dirty="0" smtClean="0">
                <a:latin typeface="Arial Narrow" pitchFamily="34" charset="0"/>
                <a:ea typeface="Calibri" panose="020F0502020204030204" pitchFamily="34" charset="0"/>
              </a:rPr>
              <a:t> ЖАО пай </a:t>
            </a:r>
            <a:r>
              <a:rPr lang="ru-RU" dirty="0" err="1" smtClean="0">
                <a:latin typeface="Arial Narrow" pitchFamily="34" charset="0"/>
                <a:ea typeface="Calibri" panose="020F0502020204030204" pitchFamily="34" charset="0"/>
              </a:rPr>
              <a:t>жарнасының</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шарттарын</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тіркеу</a:t>
            </a:r>
            <a:r>
              <a:rPr lang="ru-RU" dirty="0" smtClean="0">
                <a:latin typeface="Arial Narrow" pitchFamily="34" charset="0"/>
                <a:ea typeface="Calibri" panose="020F0502020204030204" pitchFamily="34" charset="0"/>
              </a:rPr>
              <a:t> </a:t>
            </a:r>
            <a:r>
              <a:rPr lang="ru-RU" dirty="0" err="1" smtClean="0">
                <a:latin typeface="Arial Narrow" pitchFamily="34" charset="0"/>
                <a:ea typeface="Calibri" panose="020F0502020204030204" pitchFamily="34" charset="0"/>
              </a:rPr>
              <a:t>Ережесі</a:t>
            </a:r>
            <a:endParaRPr kumimoji="0" lang="ru-RU" i="0" u="none" strike="noStrike" cap="none" normalizeH="0" baseline="0" dirty="0" smtClean="0">
              <a:ln>
                <a:noFill/>
              </a:ln>
              <a:solidFill>
                <a:schemeClr val="tx1"/>
              </a:solidFill>
              <a:effectLst/>
              <a:latin typeface="Arial Narrow" pitchFamily="34" charset="0"/>
              <a:cs typeface="Arial" pitchFamily="34" charset="0"/>
            </a:endParaRPr>
          </a:p>
        </p:txBody>
      </p:sp>
      <p:sp>
        <p:nvSpPr>
          <p:cNvPr id="104" name="Oval 2"/>
          <p:cNvSpPr txBox="1">
            <a:spLocks/>
          </p:cNvSpPr>
          <p:nvPr>
            <p:custDataLst>
              <p:tags r:id="rId14"/>
            </p:custDataLst>
          </p:nvPr>
        </p:nvSpPr>
        <p:spPr>
          <a:xfrm>
            <a:off x="3075132" y="4320916"/>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kk-KZ" sz="1200" b="1" kern="0" dirty="0" smtClean="0">
                <a:solidFill>
                  <a:srgbClr val="FFFFFF"/>
                </a:solidFill>
                <a:latin typeface="Arial Narrow" pitchFamily="34" charset="0"/>
              </a:rPr>
              <a:t>9</a:t>
            </a:r>
            <a:endParaRPr lang="ru-RU" sz="1200" b="1" kern="0" dirty="0">
              <a:solidFill>
                <a:srgbClr val="FFFFFF"/>
              </a:solidFill>
              <a:latin typeface="Arial Narrow" pitchFamily="34" charset="0"/>
            </a:endParaRPr>
          </a:p>
        </p:txBody>
      </p:sp>
      <p:sp>
        <p:nvSpPr>
          <p:cNvPr id="105" name="Прямоугольник 104"/>
          <p:cNvSpPr/>
          <p:nvPr/>
        </p:nvSpPr>
        <p:spPr>
          <a:xfrm>
            <a:off x="6290477" y="5493370"/>
            <a:ext cx="2171561" cy="715901"/>
          </a:xfrm>
          <a:prstGeom prst="rect">
            <a:avLst/>
          </a:prstGeom>
          <a:solidFill>
            <a:srgbClr val="EAEAEA"/>
          </a:solidFill>
          <a:ln w="9525" cap="flat" cmpd="sng" algn="ctr">
            <a:solidFill>
              <a:srgbClr val="808080"/>
            </a:solidFill>
            <a:prstDash val="solid"/>
          </a:ln>
          <a:effectLst/>
        </p:spPr>
        <p:txBody>
          <a:bodyPr lIns="91206" tIns="45608" rIns="91206" bIns="45608" anchor="ctr"/>
          <a:lstStyle/>
          <a:p>
            <a:r>
              <a:rPr lang="kk-KZ" sz="1200" dirty="0"/>
              <a:t>Қазақстан Республикасының тұрғын үй қорын мемлекеттік тіркеудің бірыңғай тәртібі</a:t>
            </a:r>
            <a:endParaRPr lang="ru-RU" sz="1200" dirty="0"/>
          </a:p>
        </p:txBody>
      </p:sp>
      <p:sp>
        <p:nvSpPr>
          <p:cNvPr id="106" name="Oval 2"/>
          <p:cNvSpPr txBox="1">
            <a:spLocks/>
          </p:cNvSpPr>
          <p:nvPr>
            <p:custDataLst>
              <p:tags r:id="rId15"/>
            </p:custDataLst>
          </p:nvPr>
        </p:nvSpPr>
        <p:spPr>
          <a:xfrm>
            <a:off x="8546754" y="5517498"/>
            <a:ext cx="307967" cy="284162"/>
          </a:xfrm>
          <a:prstGeom prst="ellipse">
            <a:avLst/>
          </a:prstGeom>
          <a:solidFill>
            <a:srgbClr val="0070CE"/>
          </a:solidFill>
          <a:ln w="19050">
            <a:solidFill>
              <a:srgbClr val="FFFFFF"/>
            </a:solidFill>
          </a:ln>
        </p:spPr>
        <p:txBody>
          <a:bodyPr wrap="none" lIns="0" tIns="0" rIns="0" bIns="0" anchor="ctr" anchorCtr="1"/>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defTabSz="912119">
              <a:buNone/>
              <a:defRPr/>
            </a:pPr>
            <a:r>
              <a:rPr lang="ru-RU" sz="1200" b="1" kern="0" dirty="0" smtClean="0">
                <a:solidFill>
                  <a:srgbClr val="FFFFFF"/>
                </a:solidFill>
                <a:latin typeface="Arial Narrow" pitchFamily="34" charset="0"/>
              </a:rPr>
              <a:t>15</a:t>
            </a:r>
            <a:endParaRPr lang="ru-RU" sz="1200" b="1" kern="0" dirty="0">
              <a:solidFill>
                <a:srgbClr val="FFFFFF"/>
              </a:solidFill>
              <a:latin typeface="Arial Narrow" pitchFamily="34" charset="0"/>
            </a:endParaRPr>
          </a:p>
        </p:txBody>
      </p:sp>
      <p:sp>
        <p:nvSpPr>
          <p:cNvPr id="9" name="Прямоугольник 8"/>
          <p:cNvSpPr/>
          <p:nvPr/>
        </p:nvSpPr>
        <p:spPr>
          <a:xfrm>
            <a:off x="95251" y="559860"/>
            <a:ext cx="8919812" cy="453933"/>
          </a:xfrm>
          <a:prstGeom prst="rect">
            <a:avLst/>
          </a:prstGeom>
          <a:noFill/>
          <a:ln>
            <a:solidFill>
              <a:srgbClr val="FB72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kk-KZ" sz="1800" dirty="0" smtClean="0">
                <a:solidFill>
                  <a:srgbClr val="FF0000"/>
                </a:solidFill>
              </a:rPr>
              <a:t>ЗАҢ ЖОБАСЫН ЖҮЗЕГЕ АСЫРУҒА 15 ЗАҢНАМАЛЫҚ АКТІЛЕР ӘЗІРЛЕНДІ</a:t>
            </a:r>
            <a:endParaRPr lang="ru-RU" sz="1800" dirty="0">
              <a:solidFill>
                <a:srgbClr val="FF0000"/>
              </a:solidFill>
            </a:endParaRPr>
          </a:p>
        </p:txBody>
      </p:sp>
    </p:spTree>
    <p:extLst>
      <p:ext uri="{BB962C8B-B14F-4D97-AF65-F5344CB8AC3E}">
        <p14:creationId xmlns:p14="http://schemas.microsoft.com/office/powerpoint/2010/main" val="1027616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1000" fill="hold"/>
                                        <p:tgtEl>
                                          <p:spTgt spid="41"/>
                                        </p:tgtEl>
                                        <p:attrNameLst>
                                          <p:attrName>ppt_w</p:attrName>
                                        </p:attrNameLst>
                                      </p:cBhvr>
                                      <p:tavLst>
                                        <p:tav tm="0">
                                          <p:val>
                                            <p:fltVal val="0"/>
                                          </p:val>
                                        </p:tav>
                                        <p:tav tm="100000">
                                          <p:val>
                                            <p:strVal val="#ppt_w"/>
                                          </p:val>
                                        </p:tav>
                                      </p:tavLst>
                                    </p:anim>
                                    <p:anim calcmode="lin" valueType="num">
                                      <p:cBhvr>
                                        <p:cTn id="8" dur="1000" fill="hold"/>
                                        <p:tgtEl>
                                          <p:spTgt spid="41"/>
                                        </p:tgtEl>
                                        <p:attrNameLst>
                                          <p:attrName>ppt_h</p:attrName>
                                        </p:attrNameLst>
                                      </p:cBhvr>
                                      <p:tavLst>
                                        <p:tav tm="0">
                                          <p:val>
                                            <p:fltVal val="0"/>
                                          </p:val>
                                        </p:tav>
                                        <p:tav tm="100000">
                                          <p:val>
                                            <p:strVal val="#ppt_h"/>
                                          </p:val>
                                        </p:tav>
                                      </p:tavLst>
                                    </p:anim>
                                    <p:animEffect transition="in" filter="fade">
                                      <p:cBhvr>
                                        <p:cTn id="9" dur="10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 name="Объект 2"/>
          <p:cNvSpPr>
            <a:spLocks noGrp="1"/>
          </p:cNvSpPr>
          <p:nvPr>
            <p:ph idx="1"/>
          </p:nvPr>
        </p:nvSpPr>
        <p:spPr>
          <a:effectLst>
            <a:innerShdw blurRad="63500" dist="50800" dir="8100000">
              <a:prstClr val="black">
                <a:alpha val="50000"/>
              </a:prstClr>
            </a:innerShdw>
          </a:effectLst>
        </p:spPr>
        <p:txBody>
          <a:bodyPr/>
          <a:lstStyle/>
          <a:p>
            <a:endParaRPr lang="ru-RU" dirty="0" smtClean="0"/>
          </a:p>
          <a:p>
            <a:endParaRPr lang="kk-KZ" dirty="0" smtClean="0"/>
          </a:p>
          <a:p>
            <a:endParaRPr lang="kk-KZ" dirty="0"/>
          </a:p>
          <a:p>
            <a:endParaRPr lang="ru-RU" dirty="0" smtClean="0"/>
          </a:p>
          <a:p>
            <a:pPr marL="0" indent="0" algn="ctr">
              <a:buNone/>
            </a:pPr>
            <a:r>
              <a:rPr lang="ru-RU" sz="4000" dirty="0" smtClean="0">
                <a:solidFill>
                  <a:schemeClr val="accent1">
                    <a:lumMod val="50000"/>
                  </a:schemeClr>
                </a:solidFill>
                <a:latin typeface="Arial Narrow" pitchFamily="34" charset="0"/>
                <a:cs typeface="Arial" pitchFamily="34" charset="0"/>
              </a:rPr>
              <a:t>НАЗАРЛАРЫҢЫЗҒА РАҚМЕТ!</a:t>
            </a:r>
            <a:endParaRPr lang="ru-RU" sz="4000" dirty="0">
              <a:solidFill>
                <a:schemeClr val="accent1">
                  <a:lumMod val="50000"/>
                </a:schemeClr>
              </a:solidFill>
              <a:latin typeface="Arial Narrow" pitchFamily="34" charset="0"/>
              <a:cs typeface="Arial" pitchFamily="34" charset="0"/>
            </a:endParaRPr>
          </a:p>
        </p:txBody>
      </p:sp>
      <p:sp>
        <p:nvSpPr>
          <p:cNvPr id="4" name="Номер слайда 3"/>
          <p:cNvSpPr>
            <a:spLocks noGrp="1"/>
          </p:cNvSpPr>
          <p:nvPr>
            <p:ph type="sldNum" sz="quarter" idx="12"/>
          </p:nvPr>
        </p:nvSpPr>
        <p:spPr>
          <a:xfrm>
            <a:off x="6848475" y="6356351"/>
            <a:ext cx="2057400" cy="365125"/>
          </a:xfrm>
        </p:spPr>
        <p:txBody>
          <a:bodyPr/>
          <a:lstStyle/>
          <a:p>
            <a:fld id="{5B7F4A50-1F8C-475C-94C6-2D50DD7E8F1E}" type="slidenum">
              <a:rPr lang="en-US" smtClean="0">
                <a:solidFill>
                  <a:schemeClr val="tx1"/>
                </a:solidFill>
              </a:rPr>
              <a:t>15</a:t>
            </a:fld>
            <a:endParaRPr lang="en-US" dirty="0">
              <a:solidFill>
                <a:schemeClr val="tx1"/>
              </a:solidFill>
            </a:endParaRPr>
          </a:p>
        </p:txBody>
      </p:sp>
    </p:spTree>
    <p:extLst>
      <p:ext uri="{BB962C8B-B14F-4D97-AF65-F5344CB8AC3E}">
        <p14:creationId xmlns:p14="http://schemas.microsoft.com/office/powerpoint/2010/main" val="28836118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Номер слайда 8"/>
          <p:cNvSpPr>
            <a:spLocks noGrp="1"/>
          </p:cNvSpPr>
          <p:nvPr>
            <p:ph type="sldNum" sz="quarter" idx="12"/>
          </p:nvPr>
        </p:nvSpPr>
        <p:spPr>
          <a:xfrm>
            <a:off x="8693150" y="6429267"/>
            <a:ext cx="296848" cy="365125"/>
          </a:xfrm>
          <a:solidFill>
            <a:schemeClr val="bg1"/>
          </a:solidFill>
          <a:effectLst/>
        </p:spPr>
        <p:txBody>
          <a:bodyPr/>
          <a:lstStyle/>
          <a:p>
            <a:fld id="{5B7F4A50-1F8C-475C-94C6-2D50DD7E8F1E}" type="slidenum">
              <a:rPr lang="en-US" smtClean="0">
                <a:solidFill>
                  <a:schemeClr val="tx1"/>
                </a:solidFill>
                <a:latin typeface="Arial Narrow" pitchFamily="34" charset="0"/>
              </a:rPr>
              <a:t>2</a:t>
            </a:fld>
            <a:endParaRPr lang="en-US" dirty="0">
              <a:solidFill>
                <a:schemeClr val="tx1"/>
              </a:solidFill>
              <a:latin typeface="Arial Narrow" pitchFamily="34" charset="0"/>
            </a:endParaRPr>
          </a:p>
        </p:txBody>
      </p:sp>
      <p:sp>
        <p:nvSpPr>
          <p:cNvPr id="67" name="Прямоугольник 66"/>
          <p:cNvSpPr/>
          <p:nvPr/>
        </p:nvSpPr>
        <p:spPr>
          <a:xfrm>
            <a:off x="0" y="-3068"/>
            <a:ext cx="9144000" cy="338554"/>
          </a:xfrm>
          <a:prstGeom prst="rect">
            <a:avLst/>
          </a:prstGeom>
          <a:solidFill>
            <a:srgbClr val="0070C0"/>
          </a:solidFill>
          <a:effectLst/>
        </p:spPr>
        <p:txBody>
          <a:bodyPr wrap="square" lIns="91440" tIns="45720" rIns="91440" bIns="45720">
            <a:spAutoFit/>
          </a:bodyPr>
          <a:lstStyle/>
          <a:p>
            <a:pPr algn="ctr"/>
            <a:r>
              <a:rPr lang="ru-RU" sz="1600" b="1" dirty="0">
                <a:ln w="0"/>
                <a:solidFill>
                  <a:schemeClr val="bg1"/>
                </a:solidFill>
                <a:latin typeface="Arial Narrow" pitchFamily="34" charset="0"/>
              </a:rPr>
              <a:t>«ТҰРҒЫН ҮЙ ҚАТЫНАСТАРЫ ТУРАЛЫ» ӨЗГЕРІСТЕР ЕНГІЗУ ТУРАЛЫ МӘСЕЛЕНІ </a:t>
            </a:r>
            <a:r>
              <a:rPr lang="ru-RU" sz="1600" b="1" dirty="0" smtClean="0">
                <a:ln w="0"/>
                <a:solidFill>
                  <a:schemeClr val="bg1"/>
                </a:solidFill>
                <a:latin typeface="Arial Narrow" pitchFamily="34" charset="0"/>
              </a:rPr>
              <a:t>ТАЛҚЫЛАУ</a:t>
            </a:r>
            <a:endParaRPr lang="ru-RU" sz="1600" b="1" dirty="0">
              <a:ln w="0"/>
              <a:solidFill>
                <a:schemeClr val="bg1"/>
              </a:solidFill>
              <a:latin typeface="Arial Narrow" pitchFamily="34" charset="0"/>
            </a:endParaRPr>
          </a:p>
        </p:txBody>
      </p:sp>
      <p:sp>
        <p:nvSpPr>
          <p:cNvPr id="3" name="Скругленный прямоугольник 2"/>
          <p:cNvSpPr/>
          <p:nvPr/>
        </p:nvSpPr>
        <p:spPr>
          <a:xfrm>
            <a:off x="163979" y="502171"/>
            <a:ext cx="8094689" cy="576801"/>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p:cNvSpPr/>
          <p:nvPr/>
        </p:nvSpPr>
        <p:spPr>
          <a:xfrm>
            <a:off x="289995" y="525772"/>
            <a:ext cx="7624811" cy="523220"/>
          </a:xfrm>
          <a:prstGeom prst="rect">
            <a:avLst/>
          </a:prstGeom>
        </p:spPr>
        <p:txBody>
          <a:bodyPr wrap="square">
            <a:spAutoFit/>
          </a:bodyPr>
          <a:lstStyle/>
          <a:p>
            <a:r>
              <a:rPr lang="ru-RU" sz="1600" dirty="0" err="1">
                <a:latin typeface="Arial Narrow" pitchFamily="34" charset="0"/>
              </a:rPr>
              <a:t>Жұмыс</a:t>
            </a:r>
            <a:r>
              <a:rPr lang="ru-RU" sz="1600" dirty="0">
                <a:latin typeface="Arial Narrow" pitchFamily="34" charset="0"/>
              </a:rPr>
              <a:t> </a:t>
            </a:r>
            <a:r>
              <a:rPr lang="ru-RU" sz="1600" dirty="0" err="1">
                <a:latin typeface="Arial Narrow" pitchFamily="34" charset="0"/>
              </a:rPr>
              <a:t>тобы</a:t>
            </a:r>
            <a:r>
              <a:rPr lang="ru-RU" sz="1600" dirty="0">
                <a:latin typeface="Arial Narrow" pitchFamily="34" charset="0"/>
              </a:rPr>
              <a:t>  </a:t>
            </a:r>
            <a:r>
              <a:rPr lang="ru-RU" sz="1600" dirty="0">
                <a:solidFill>
                  <a:srgbClr val="FF0000"/>
                </a:solidFill>
                <a:latin typeface="Arial Narrow" pitchFamily="34" charset="0"/>
              </a:rPr>
              <a:t>- 55 </a:t>
            </a:r>
            <a:r>
              <a:rPr lang="ru-RU" sz="1600" dirty="0" err="1">
                <a:solidFill>
                  <a:srgbClr val="FF0000"/>
                </a:solidFill>
                <a:latin typeface="Arial Narrow" pitchFamily="34" charset="0"/>
              </a:rPr>
              <a:t>адам</a:t>
            </a:r>
            <a:endParaRPr lang="ru-RU" sz="1600" dirty="0">
              <a:solidFill>
                <a:srgbClr val="FF0000"/>
              </a:solidFill>
              <a:latin typeface="Arial Narrow" pitchFamily="34" charset="0"/>
            </a:endParaRPr>
          </a:p>
          <a:p>
            <a:r>
              <a:rPr lang="ru-RU" sz="1200" i="1" dirty="0">
                <a:solidFill>
                  <a:srgbClr val="002060"/>
                </a:solidFill>
                <a:latin typeface="Arial Narrow" pitchFamily="34" charset="0"/>
              </a:rPr>
              <a:t>(</a:t>
            </a:r>
            <a:r>
              <a:rPr lang="ru-RU" sz="1200" i="1" dirty="0" err="1">
                <a:solidFill>
                  <a:srgbClr val="002060"/>
                </a:solidFill>
                <a:latin typeface="Arial Narrow" pitchFamily="34" charset="0"/>
              </a:rPr>
              <a:t>Қазақстан</a:t>
            </a:r>
            <a:r>
              <a:rPr lang="ru-RU" sz="1200" i="1" dirty="0">
                <a:solidFill>
                  <a:srgbClr val="002060"/>
                </a:solidFill>
                <a:latin typeface="Arial Narrow" pitchFamily="34" charset="0"/>
              </a:rPr>
              <a:t> </a:t>
            </a:r>
            <a:r>
              <a:rPr lang="ru-RU" sz="1200" i="1" dirty="0" err="1">
                <a:solidFill>
                  <a:srgbClr val="002060"/>
                </a:solidFill>
                <a:latin typeface="Arial Narrow" pitchFamily="34" charset="0"/>
              </a:rPr>
              <a:t>Республикасының</a:t>
            </a:r>
            <a:r>
              <a:rPr lang="ru-RU" sz="1200" i="1" dirty="0">
                <a:solidFill>
                  <a:srgbClr val="002060"/>
                </a:solidFill>
                <a:latin typeface="Arial Narrow" pitchFamily="34" charset="0"/>
              </a:rPr>
              <a:t> </a:t>
            </a:r>
            <a:r>
              <a:rPr lang="ru-RU" sz="1200" i="1" dirty="0" err="1">
                <a:solidFill>
                  <a:srgbClr val="002060"/>
                </a:solidFill>
                <a:latin typeface="Arial Narrow" pitchFamily="34" charset="0"/>
              </a:rPr>
              <a:t>Инвестициялар</a:t>
            </a:r>
            <a:r>
              <a:rPr lang="ru-RU" sz="1200" i="1" dirty="0">
                <a:solidFill>
                  <a:srgbClr val="002060"/>
                </a:solidFill>
                <a:latin typeface="Arial Narrow" pitchFamily="34" charset="0"/>
              </a:rPr>
              <a:t> </a:t>
            </a:r>
            <a:r>
              <a:rPr lang="ru-RU" sz="1200" i="1" dirty="0" err="1">
                <a:solidFill>
                  <a:srgbClr val="002060"/>
                </a:solidFill>
                <a:latin typeface="Arial Narrow" pitchFamily="34" charset="0"/>
              </a:rPr>
              <a:t>және</a:t>
            </a:r>
            <a:r>
              <a:rPr lang="ru-RU" sz="1200" i="1" dirty="0">
                <a:solidFill>
                  <a:srgbClr val="002060"/>
                </a:solidFill>
                <a:latin typeface="Arial Narrow" pitchFamily="34" charset="0"/>
              </a:rPr>
              <a:t> даму </a:t>
            </a:r>
            <a:r>
              <a:rPr lang="ru-RU" sz="1200" i="1" dirty="0" err="1">
                <a:solidFill>
                  <a:srgbClr val="002060"/>
                </a:solidFill>
                <a:latin typeface="Arial Narrow" pitchFamily="34" charset="0"/>
              </a:rPr>
              <a:t>министрінің</a:t>
            </a:r>
            <a:r>
              <a:rPr lang="ru-RU" sz="1200" i="1" dirty="0">
                <a:solidFill>
                  <a:srgbClr val="002060"/>
                </a:solidFill>
                <a:latin typeface="Arial Narrow" pitchFamily="34" charset="0"/>
              </a:rPr>
              <a:t> 2017 </a:t>
            </a:r>
            <a:r>
              <a:rPr lang="ru-RU" sz="1200" i="1" dirty="0" err="1">
                <a:solidFill>
                  <a:srgbClr val="002060"/>
                </a:solidFill>
                <a:latin typeface="Arial Narrow" pitchFamily="34" charset="0"/>
              </a:rPr>
              <a:t>жылғы</a:t>
            </a:r>
            <a:r>
              <a:rPr lang="ru-RU" sz="1200" i="1" dirty="0">
                <a:solidFill>
                  <a:srgbClr val="002060"/>
                </a:solidFill>
                <a:latin typeface="Arial Narrow" pitchFamily="34" charset="0"/>
              </a:rPr>
              <a:t> 19 </a:t>
            </a:r>
            <a:r>
              <a:rPr lang="ru-RU" sz="1200" i="1" dirty="0" err="1">
                <a:solidFill>
                  <a:srgbClr val="002060"/>
                </a:solidFill>
                <a:latin typeface="Arial Narrow" pitchFamily="34" charset="0"/>
              </a:rPr>
              <a:t>қазандағы</a:t>
            </a:r>
            <a:r>
              <a:rPr lang="ru-RU" sz="1200" i="1" dirty="0">
                <a:solidFill>
                  <a:srgbClr val="002060"/>
                </a:solidFill>
                <a:latin typeface="Arial Narrow" pitchFamily="34" charset="0"/>
              </a:rPr>
              <a:t> </a:t>
            </a:r>
            <a:r>
              <a:rPr lang="ru-RU" sz="1200" i="1" dirty="0" err="1">
                <a:solidFill>
                  <a:srgbClr val="002060"/>
                </a:solidFill>
                <a:latin typeface="Arial Narrow" pitchFamily="34" charset="0"/>
              </a:rPr>
              <a:t>бұйрығымен</a:t>
            </a:r>
            <a:r>
              <a:rPr lang="ru-RU" sz="1200" i="1" dirty="0">
                <a:solidFill>
                  <a:srgbClr val="002060"/>
                </a:solidFill>
                <a:latin typeface="Arial Narrow" pitchFamily="34" charset="0"/>
              </a:rPr>
              <a:t> </a:t>
            </a:r>
            <a:r>
              <a:rPr lang="ru-RU" sz="1200" i="1" dirty="0" err="1" smtClean="0">
                <a:solidFill>
                  <a:srgbClr val="002060"/>
                </a:solidFill>
                <a:latin typeface="Arial Narrow" pitchFamily="34" charset="0"/>
              </a:rPr>
              <a:t>құрылды</a:t>
            </a:r>
            <a:r>
              <a:rPr lang="ru-RU" sz="1200" i="1" dirty="0" smtClean="0">
                <a:solidFill>
                  <a:srgbClr val="002060"/>
                </a:solidFill>
                <a:latin typeface="Arial Narrow" pitchFamily="34" charset="0"/>
              </a:rPr>
              <a:t>)</a:t>
            </a:r>
            <a:endParaRPr lang="ru-RU" sz="1050" dirty="0">
              <a:solidFill>
                <a:srgbClr val="002060"/>
              </a:solidFill>
              <a:latin typeface="Arial Narrow" pitchFamily="34" charset="0"/>
            </a:endParaRPr>
          </a:p>
        </p:txBody>
      </p:sp>
      <p:sp>
        <p:nvSpPr>
          <p:cNvPr id="4" name="Прямоугольник 3"/>
          <p:cNvSpPr/>
          <p:nvPr/>
        </p:nvSpPr>
        <p:spPr>
          <a:xfrm>
            <a:off x="202367" y="1637182"/>
            <a:ext cx="4283908" cy="3447098"/>
          </a:xfrm>
          <a:prstGeom prst="rect">
            <a:avLst/>
          </a:prstGeom>
          <a:ln w="3175">
            <a:solidFill>
              <a:schemeClr val="bg1"/>
            </a:solidFill>
          </a:ln>
        </p:spPr>
        <p:txBody>
          <a:bodyPr wrap="square">
            <a:spAutoFit/>
          </a:bodyPr>
          <a:lstStyle/>
          <a:p>
            <a:pPr algn="ctr"/>
            <a:endParaRPr lang="ru-RU" sz="800" dirty="0" smtClean="0">
              <a:latin typeface="Arial Narrow" pitchFamily="34" charset="0"/>
            </a:endParaRPr>
          </a:p>
          <a:p>
            <a:pPr marL="285750" indent="-285750" algn="just">
              <a:lnSpc>
                <a:spcPct val="150000"/>
              </a:lnSpc>
              <a:buFont typeface="Wingdings" pitchFamily="2" charset="2"/>
              <a:buChar char="Ø"/>
            </a:pPr>
            <a:r>
              <a:rPr lang="ru-RU" dirty="0">
                <a:latin typeface="Arial Narrow" pitchFamily="34" charset="0"/>
              </a:rPr>
              <a:t>Астана </a:t>
            </a:r>
            <a:r>
              <a:rPr lang="ru-RU" dirty="0" err="1">
                <a:latin typeface="Arial Narrow" pitchFamily="34" charset="0"/>
              </a:rPr>
              <a:t>және</a:t>
            </a:r>
            <a:r>
              <a:rPr lang="ru-RU" dirty="0">
                <a:latin typeface="Arial Narrow" pitchFamily="34" charset="0"/>
              </a:rPr>
              <a:t> Алматы </a:t>
            </a:r>
            <a:r>
              <a:rPr lang="ru-RU" dirty="0" err="1">
                <a:latin typeface="Arial Narrow" pitchFamily="34" charset="0"/>
              </a:rPr>
              <a:t>қалалық</a:t>
            </a:r>
            <a:r>
              <a:rPr lang="ru-RU" dirty="0">
                <a:latin typeface="Arial Narrow" pitchFamily="34" charset="0"/>
              </a:rPr>
              <a:t> </a:t>
            </a:r>
            <a:r>
              <a:rPr lang="ru-RU" dirty="0" err="1">
                <a:latin typeface="Arial Narrow" pitchFamily="34" charset="0"/>
              </a:rPr>
              <a:t>тұрғын</a:t>
            </a:r>
            <a:r>
              <a:rPr lang="ru-RU" dirty="0">
                <a:latin typeface="Arial Narrow" pitchFamily="34" charset="0"/>
              </a:rPr>
              <a:t> </a:t>
            </a:r>
            <a:r>
              <a:rPr lang="ru-RU" dirty="0" err="1">
                <a:latin typeface="Arial Narrow" pitchFamily="34" charset="0"/>
              </a:rPr>
              <a:t>үй</a:t>
            </a:r>
            <a:r>
              <a:rPr lang="ru-RU" dirty="0">
                <a:latin typeface="Arial Narrow" pitchFamily="34" charset="0"/>
              </a:rPr>
              <a:t> </a:t>
            </a:r>
            <a:r>
              <a:rPr lang="ru-RU" dirty="0" err="1">
                <a:latin typeface="Arial Narrow" pitchFamily="34" charset="0"/>
              </a:rPr>
              <a:t>және</a:t>
            </a:r>
            <a:r>
              <a:rPr lang="ru-RU" dirty="0">
                <a:latin typeface="Arial Narrow" pitchFamily="34" charset="0"/>
              </a:rPr>
              <a:t> </a:t>
            </a:r>
            <a:r>
              <a:rPr lang="ru-RU" dirty="0" err="1">
                <a:latin typeface="Arial Narrow" pitchFamily="34" charset="0"/>
              </a:rPr>
              <a:t>тұрғын</a:t>
            </a:r>
            <a:r>
              <a:rPr lang="ru-RU" dirty="0">
                <a:latin typeface="Arial Narrow" pitchFamily="34" charset="0"/>
              </a:rPr>
              <a:t> </a:t>
            </a:r>
            <a:r>
              <a:rPr lang="ru-RU" dirty="0" err="1">
                <a:latin typeface="Arial Narrow" pitchFamily="34" charset="0"/>
              </a:rPr>
              <a:t>үй</a:t>
            </a:r>
            <a:r>
              <a:rPr lang="ru-RU" dirty="0">
                <a:latin typeface="Arial Narrow" pitchFamily="34" charset="0"/>
              </a:rPr>
              <a:t> </a:t>
            </a:r>
            <a:r>
              <a:rPr lang="ru-RU" dirty="0" err="1">
                <a:latin typeface="Arial Narrow" pitchFamily="34" charset="0"/>
              </a:rPr>
              <a:t>инспекциясы</a:t>
            </a:r>
            <a:r>
              <a:rPr lang="ru-RU" dirty="0">
                <a:latin typeface="Arial Narrow" pitchFamily="34" charset="0"/>
              </a:rPr>
              <a:t> </a:t>
            </a:r>
          </a:p>
          <a:p>
            <a:pPr marL="285750" indent="-285750" algn="just">
              <a:lnSpc>
                <a:spcPct val="150000"/>
              </a:lnSpc>
              <a:buFont typeface="Wingdings" pitchFamily="2" charset="2"/>
              <a:buChar char="Ø"/>
            </a:pPr>
            <a:r>
              <a:rPr lang="ru-RU" dirty="0" err="1">
                <a:latin typeface="Arial Narrow" pitchFamily="34" charset="0"/>
              </a:rPr>
              <a:t>Заңнама</a:t>
            </a:r>
            <a:r>
              <a:rPr lang="ru-RU" dirty="0">
                <a:latin typeface="Arial Narrow" pitchFamily="34" charset="0"/>
              </a:rPr>
              <a:t> институты  </a:t>
            </a:r>
          </a:p>
          <a:p>
            <a:pPr marL="285750" indent="-285750" algn="just">
              <a:lnSpc>
                <a:spcPct val="150000"/>
              </a:lnSpc>
              <a:buFont typeface="Wingdings" pitchFamily="2" charset="2"/>
              <a:buChar char="Ø"/>
            </a:pPr>
            <a:r>
              <a:rPr lang="ru-RU" dirty="0">
                <a:latin typeface="Arial Narrow" pitchFamily="34" charset="0"/>
              </a:rPr>
              <a:t>«</a:t>
            </a:r>
            <a:r>
              <a:rPr lang="ru-RU" dirty="0" err="1">
                <a:latin typeface="Arial Narrow" pitchFamily="34" charset="0"/>
              </a:rPr>
              <a:t>Атамекен</a:t>
            </a:r>
            <a:r>
              <a:rPr lang="ru-RU" dirty="0">
                <a:latin typeface="Arial Narrow" pitchFamily="34" charset="0"/>
              </a:rPr>
              <a:t>» </a:t>
            </a:r>
            <a:r>
              <a:rPr lang="ru-RU" dirty="0" err="1">
                <a:latin typeface="Arial Narrow" pitchFamily="34" charset="0"/>
              </a:rPr>
              <a:t>Ұлттық</a:t>
            </a:r>
            <a:r>
              <a:rPr lang="ru-RU" dirty="0">
                <a:latin typeface="Arial Narrow" pitchFamily="34" charset="0"/>
              </a:rPr>
              <a:t> </a:t>
            </a:r>
            <a:r>
              <a:rPr lang="ru-RU" dirty="0" err="1">
                <a:latin typeface="Arial Narrow" pitchFamily="34" charset="0"/>
              </a:rPr>
              <a:t>кәсіпкерлер</a:t>
            </a:r>
            <a:r>
              <a:rPr lang="ru-RU" dirty="0">
                <a:latin typeface="Arial Narrow" pitchFamily="34" charset="0"/>
              </a:rPr>
              <a:t> </a:t>
            </a:r>
            <a:r>
              <a:rPr lang="ru-RU" dirty="0" err="1">
                <a:latin typeface="Arial Narrow" pitchFamily="34" charset="0"/>
              </a:rPr>
              <a:t>палатасы</a:t>
            </a:r>
            <a:r>
              <a:rPr lang="ru-RU" dirty="0">
                <a:latin typeface="Arial Narrow" pitchFamily="34" charset="0"/>
              </a:rPr>
              <a:t>  </a:t>
            </a:r>
          </a:p>
          <a:p>
            <a:pPr marL="285750" indent="-285750" algn="just">
              <a:lnSpc>
                <a:spcPct val="150000"/>
              </a:lnSpc>
              <a:buFont typeface="Wingdings" pitchFamily="2" charset="2"/>
              <a:buChar char="Ø"/>
            </a:pPr>
            <a:r>
              <a:rPr lang="ru-RU" dirty="0" err="1">
                <a:latin typeface="Arial Narrow" pitchFamily="34" charset="0"/>
              </a:rPr>
              <a:t>Қазақстан</a:t>
            </a:r>
            <a:r>
              <a:rPr lang="ru-RU" dirty="0">
                <a:latin typeface="Arial Narrow" pitchFamily="34" charset="0"/>
              </a:rPr>
              <a:t> </a:t>
            </a:r>
            <a:r>
              <a:rPr lang="ru-RU" dirty="0" err="1">
                <a:latin typeface="Arial Narrow" pitchFamily="34" charset="0"/>
              </a:rPr>
              <a:t>Республикасындағы</a:t>
            </a:r>
            <a:r>
              <a:rPr lang="ru-RU" dirty="0">
                <a:latin typeface="Arial Narrow" pitchFamily="34" charset="0"/>
              </a:rPr>
              <a:t> </a:t>
            </a:r>
            <a:r>
              <a:rPr lang="ru-RU" dirty="0" err="1">
                <a:latin typeface="Arial Narrow" pitchFamily="34" charset="0"/>
              </a:rPr>
              <a:t>Біріккен</a:t>
            </a:r>
            <a:r>
              <a:rPr lang="ru-RU" dirty="0">
                <a:latin typeface="Arial Narrow" pitchFamily="34" charset="0"/>
              </a:rPr>
              <a:t> </a:t>
            </a:r>
            <a:r>
              <a:rPr lang="ru-RU" dirty="0" err="1">
                <a:latin typeface="Arial Narrow" pitchFamily="34" charset="0"/>
              </a:rPr>
              <a:t>Ұлттар</a:t>
            </a:r>
            <a:r>
              <a:rPr lang="ru-RU" dirty="0">
                <a:latin typeface="Arial Narrow" pitchFamily="34" charset="0"/>
              </a:rPr>
              <a:t> </a:t>
            </a:r>
            <a:r>
              <a:rPr lang="ru-RU" dirty="0" err="1">
                <a:latin typeface="Arial Narrow" pitchFamily="34" charset="0"/>
              </a:rPr>
              <a:t>Ұйымының</a:t>
            </a:r>
            <a:r>
              <a:rPr lang="ru-RU" dirty="0">
                <a:latin typeface="Arial Narrow" pitchFamily="34" charset="0"/>
              </a:rPr>
              <a:t> Даму </a:t>
            </a:r>
            <a:r>
              <a:rPr lang="ru-RU" dirty="0" err="1">
                <a:latin typeface="Arial Narrow" pitchFamily="34" charset="0"/>
              </a:rPr>
              <a:t>бағдарламасы</a:t>
            </a:r>
            <a:r>
              <a:rPr lang="ru-RU" dirty="0">
                <a:latin typeface="Arial Narrow" pitchFamily="34" charset="0"/>
              </a:rPr>
              <a:t>  </a:t>
            </a:r>
          </a:p>
          <a:p>
            <a:pPr marL="285750" indent="-285750" algn="just">
              <a:lnSpc>
                <a:spcPct val="150000"/>
              </a:lnSpc>
              <a:buFont typeface="Wingdings" pitchFamily="2" charset="2"/>
              <a:buChar char="Ø"/>
            </a:pPr>
            <a:r>
              <a:rPr lang="ru-RU" dirty="0">
                <a:latin typeface="Arial Narrow" pitchFamily="34" charset="0"/>
              </a:rPr>
              <a:t>«</a:t>
            </a:r>
            <a:r>
              <a:rPr lang="ru-RU" dirty="0" err="1">
                <a:latin typeface="Arial Narrow" pitchFamily="34" charset="0"/>
              </a:rPr>
              <a:t>Менің</a:t>
            </a:r>
            <a:r>
              <a:rPr lang="ru-RU" dirty="0">
                <a:latin typeface="Arial Narrow" pitchFamily="34" charset="0"/>
              </a:rPr>
              <a:t> </a:t>
            </a:r>
            <a:r>
              <a:rPr lang="ru-RU" dirty="0" err="1">
                <a:latin typeface="Arial Narrow" pitchFamily="34" charset="0"/>
              </a:rPr>
              <a:t>үйім</a:t>
            </a:r>
            <a:r>
              <a:rPr lang="ru-RU" dirty="0">
                <a:latin typeface="Arial Narrow" pitchFamily="34" charset="0"/>
              </a:rPr>
              <a:t>» ЗЖТБ, «ТКШ </a:t>
            </a:r>
            <a:r>
              <a:rPr lang="ru-RU" dirty="0" err="1">
                <a:latin typeface="Arial Narrow" pitchFamily="34" charset="0"/>
              </a:rPr>
              <a:t>ҚазОрталығы</a:t>
            </a:r>
            <a:r>
              <a:rPr lang="ru-RU" dirty="0">
                <a:latin typeface="Arial Narrow" pitchFamily="34" charset="0"/>
              </a:rPr>
              <a:t>» АҚ</a:t>
            </a:r>
          </a:p>
          <a:p>
            <a:pPr marL="285750" indent="-285750" algn="just">
              <a:lnSpc>
                <a:spcPct val="150000"/>
              </a:lnSpc>
              <a:buFont typeface="Wingdings" pitchFamily="2" charset="2"/>
              <a:buChar char="Ø"/>
            </a:pPr>
            <a:r>
              <a:rPr lang="ru-RU" dirty="0">
                <a:latin typeface="Arial Narrow" pitchFamily="34" charset="0"/>
              </a:rPr>
              <a:t>«ТКШ </a:t>
            </a:r>
            <a:r>
              <a:rPr lang="ru-RU" dirty="0" err="1">
                <a:latin typeface="Arial Narrow" pitchFamily="34" charset="0"/>
              </a:rPr>
              <a:t>ҚазОрталығы</a:t>
            </a:r>
            <a:r>
              <a:rPr lang="ru-RU" dirty="0">
                <a:latin typeface="Arial Narrow" pitchFamily="34" charset="0"/>
              </a:rPr>
              <a:t>» АҚ</a:t>
            </a:r>
          </a:p>
          <a:p>
            <a:pPr marL="285750" indent="-285750" algn="just">
              <a:lnSpc>
                <a:spcPct val="150000"/>
              </a:lnSpc>
              <a:buFont typeface="Wingdings" pitchFamily="2" charset="2"/>
              <a:buChar char="Ø"/>
            </a:pPr>
            <a:r>
              <a:rPr lang="ru-RU" dirty="0">
                <a:latin typeface="Arial Narrow" pitchFamily="34" charset="0"/>
              </a:rPr>
              <a:t>«</a:t>
            </a:r>
            <a:r>
              <a:rPr lang="ru-RU" dirty="0" err="1">
                <a:latin typeface="Arial Narrow" pitchFamily="34" charset="0"/>
              </a:rPr>
              <a:t>Қоғамдық</a:t>
            </a:r>
            <a:r>
              <a:rPr lang="ru-RU" dirty="0">
                <a:latin typeface="Arial Narrow" pitchFamily="34" charset="0"/>
              </a:rPr>
              <a:t> </a:t>
            </a:r>
            <a:r>
              <a:rPr lang="ru-RU" dirty="0" err="1">
                <a:latin typeface="Arial Narrow" pitchFamily="34" charset="0"/>
              </a:rPr>
              <a:t>қорғаушы</a:t>
            </a:r>
            <a:r>
              <a:rPr lang="ru-RU" dirty="0">
                <a:latin typeface="Arial Narrow" pitchFamily="34" charset="0"/>
              </a:rPr>
              <a:t>» </a:t>
            </a:r>
            <a:r>
              <a:rPr lang="ru-RU" dirty="0" err="1">
                <a:latin typeface="Arial Narrow" pitchFamily="34" charset="0"/>
              </a:rPr>
              <a:t>өңірлік</a:t>
            </a:r>
            <a:r>
              <a:rPr lang="ru-RU" dirty="0">
                <a:latin typeface="Arial Narrow" pitchFamily="34" charset="0"/>
              </a:rPr>
              <a:t> </a:t>
            </a:r>
            <a:r>
              <a:rPr lang="ru-RU" dirty="0" err="1">
                <a:latin typeface="Arial Narrow" pitchFamily="34" charset="0"/>
              </a:rPr>
              <a:t>қоғамдық</a:t>
            </a:r>
            <a:r>
              <a:rPr lang="ru-RU" dirty="0">
                <a:latin typeface="Arial Narrow" pitchFamily="34" charset="0"/>
              </a:rPr>
              <a:t> </a:t>
            </a:r>
            <a:r>
              <a:rPr lang="ru-RU" dirty="0" err="1">
                <a:latin typeface="Arial Narrow" pitchFamily="34" charset="0"/>
              </a:rPr>
              <a:t>ұйымы</a:t>
            </a:r>
            <a:endParaRPr lang="ru-RU" dirty="0">
              <a:latin typeface="Arial Narrow" pitchFamily="34" charset="0"/>
            </a:endParaRPr>
          </a:p>
          <a:p>
            <a:pPr marL="285750" indent="-285750" algn="just">
              <a:lnSpc>
                <a:spcPct val="150000"/>
              </a:lnSpc>
              <a:buFont typeface="Wingdings" pitchFamily="2" charset="2"/>
              <a:buChar char="Ø"/>
            </a:pPr>
            <a:r>
              <a:rPr lang="ru-RU" dirty="0">
                <a:latin typeface="Arial Narrow" pitchFamily="34" charset="0"/>
              </a:rPr>
              <a:t>«</a:t>
            </a:r>
            <a:r>
              <a:rPr lang="ru-RU" dirty="0" err="1">
                <a:latin typeface="Arial Narrow" pitchFamily="34" charset="0"/>
              </a:rPr>
              <a:t>Қазақстан</a:t>
            </a:r>
            <a:r>
              <a:rPr lang="ru-RU" dirty="0">
                <a:latin typeface="Arial Narrow" pitchFamily="34" charset="0"/>
              </a:rPr>
              <a:t> </a:t>
            </a:r>
            <a:r>
              <a:rPr lang="ru-RU" dirty="0" err="1">
                <a:latin typeface="Arial Narrow" pitchFamily="34" charset="0"/>
              </a:rPr>
              <a:t>Тұрғын</a:t>
            </a:r>
            <a:r>
              <a:rPr lang="ru-RU" dirty="0">
                <a:latin typeface="Arial Narrow" pitchFamily="34" charset="0"/>
              </a:rPr>
              <a:t> </a:t>
            </a:r>
            <a:r>
              <a:rPr lang="ru-RU" dirty="0" err="1">
                <a:latin typeface="Arial Narrow" pitchFamily="34" charset="0"/>
              </a:rPr>
              <a:t>үй</a:t>
            </a:r>
            <a:r>
              <a:rPr lang="ru-RU" dirty="0">
                <a:latin typeface="Arial Narrow" pitchFamily="34" charset="0"/>
              </a:rPr>
              <a:t> </a:t>
            </a:r>
            <a:r>
              <a:rPr lang="ru-RU" dirty="0" err="1">
                <a:latin typeface="Arial Narrow" pitchFamily="34" charset="0"/>
              </a:rPr>
              <a:t>құрылыс</a:t>
            </a:r>
            <a:r>
              <a:rPr lang="ru-RU" dirty="0">
                <a:latin typeface="Arial Narrow" pitchFamily="34" charset="0"/>
              </a:rPr>
              <a:t> </a:t>
            </a:r>
            <a:r>
              <a:rPr lang="ru-RU" dirty="0" err="1">
                <a:latin typeface="Arial Narrow" pitchFamily="34" charset="0"/>
              </a:rPr>
              <a:t>жинақ</a:t>
            </a:r>
            <a:r>
              <a:rPr lang="ru-RU" dirty="0">
                <a:latin typeface="Arial Narrow" pitchFamily="34" charset="0"/>
              </a:rPr>
              <a:t> </a:t>
            </a:r>
            <a:r>
              <a:rPr lang="ru-RU" dirty="0" err="1">
                <a:latin typeface="Arial Narrow" pitchFamily="34" charset="0"/>
              </a:rPr>
              <a:t>банкі</a:t>
            </a:r>
            <a:r>
              <a:rPr lang="ru-RU" dirty="0">
                <a:latin typeface="Arial Narrow" pitchFamily="34" charset="0"/>
              </a:rPr>
              <a:t>» АҚ</a:t>
            </a:r>
          </a:p>
        </p:txBody>
      </p:sp>
      <p:cxnSp>
        <p:nvCxnSpPr>
          <p:cNvPr id="7" name="Прямая соединительная линия 6"/>
          <p:cNvCxnSpPr/>
          <p:nvPr/>
        </p:nvCxnSpPr>
        <p:spPr>
          <a:xfrm>
            <a:off x="407075" y="1552575"/>
            <a:ext cx="8357331"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0" name="Прямоугольник 9"/>
          <p:cNvSpPr/>
          <p:nvPr/>
        </p:nvSpPr>
        <p:spPr>
          <a:xfrm>
            <a:off x="546265" y="6053057"/>
            <a:ext cx="8007184" cy="338554"/>
          </a:xfrm>
          <a:prstGeom prst="rect">
            <a:avLst/>
          </a:prstGeom>
        </p:spPr>
        <p:txBody>
          <a:bodyPr wrap="square">
            <a:spAutoFit/>
          </a:bodyPr>
          <a:lstStyle/>
          <a:p>
            <a:r>
              <a:rPr lang="ru-RU" sz="1600" b="1" i="1" dirty="0" err="1">
                <a:solidFill>
                  <a:srgbClr val="002060"/>
                </a:solidFill>
                <a:latin typeface="Arial Narrow" pitchFamily="34" charset="0"/>
              </a:rPr>
              <a:t>Қазақстан</a:t>
            </a:r>
            <a:r>
              <a:rPr lang="ru-RU" sz="1600" b="1" i="1" dirty="0">
                <a:solidFill>
                  <a:srgbClr val="002060"/>
                </a:solidFill>
                <a:latin typeface="Arial Narrow" pitchFamily="34" charset="0"/>
              </a:rPr>
              <a:t> </a:t>
            </a:r>
            <a:r>
              <a:rPr lang="ru-RU" sz="1600" b="1" i="1" dirty="0" err="1">
                <a:solidFill>
                  <a:srgbClr val="002060"/>
                </a:solidFill>
                <a:latin typeface="Arial Narrow" pitchFamily="34" charset="0"/>
              </a:rPr>
              <a:t>Республикасының</a:t>
            </a:r>
            <a:r>
              <a:rPr lang="ru-RU" sz="1600" b="1" i="1" dirty="0">
                <a:solidFill>
                  <a:srgbClr val="002060"/>
                </a:solidFill>
                <a:latin typeface="Arial Narrow" pitchFamily="34" charset="0"/>
              </a:rPr>
              <a:t> 3 </a:t>
            </a:r>
            <a:r>
              <a:rPr lang="ru-RU" sz="1600" b="1" i="1" dirty="0" err="1">
                <a:solidFill>
                  <a:srgbClr val="002060"/>
                </a:solidFill>
                <a:latin typeface="Arial Narrow" pitchFamily="34" charset="0"/>
              </a:rPr>
              <a:t>Кодексі</a:t>
            </a:r>
            <a:r>
              <a:rPr lang="ru-RU" sz="1600" b="1" i="1" dirty="0">
                <a:solidFill>
                  <a:srgbClr val="002060"/>
                </a:solidFill>
                <a:latin typeface="Arial Narrow" pitchFamily="34" charset="0"/>
              </a:rPr>
              <a:t> мен 12 </a:t>
            </a:r>
            <a:r>
              <a:rPr lang="ru-RU" sz="1600" b="1" i="1" dirty="0" err="1">
                <a:solidFill>
                  <a:srgbClr val="002060"/>
                </a:solidFill>
                <a:latin typeface="Arial Narrow" pitchFamily="34" charset="0"/>
              </a:rPr>
              <a:t>заңына</a:t>
            </a:r>
            <a:r>
              <a:rPr lang="ru-RU" sz="1600" b="1" i="1" dirty="0">
                <a:solidFill>
                  <a:srgbClr val="002060"/>
                </a:solidFill>
                <a:latin typeface="Arial Narrow" pitchFamily="34" charset="0"/>
              </a:rPr>
              <a:t> </a:t>
            </a:r>
            <a:r>
              <a:rPr lang="ru-RU" sz="1600" b="1" i="1" dirty="0" err="1">
                <a:solidFill>
                  <a:srgbClr val="002060"/>
                </a:solidFill>
                <a:latin typeface="Arial Narrow" pitchFamily="34" charset="0"/>
              </a:rPr>
              <a:t>өзгертулер</a:t>
            </a:r>
            <a:r>
              <a:rPr lang="ru-RU" sz="1600" b="1" i="1" dirty="0">
                <a:solidFill>
                  <a:srgbClr val="002060"/>
                </a:solidFill>
                <a:latin typeface="Arial Narrow" pitchFamily="34" charset="0"/>
              </a:rPr>
              <a:t> </a:t>
            </a:r>
            <a:r>
              <a:rPr lang="ru-RU" sz="1600" b="1" i="1" dirty="0" err="1">
                <a:solidFill>
                  <a:srgbClr val="002060"/>
                </a:solidFill>
                <a:latin typeface="Arial Narrow" pitchFamily="34" charset="0"/>
              </a:rPr>
              <a:t>енгізу</a:t>
            </a:r>
            <a:r>
              <a:rPr lang="ru-RU" sz="1600" b="1" i="1" dirty="0">
                <a:solidFill>
                  <a:srgbClr val="002060"/>
                </a:solidFill>
                <a:latin typeface="Arial Narrow" pitchFamily="34" charset="0"/>
              </a:rPr>
              <a:t> </a:t>
            </a:r>
            <a:r>
              <a:rPr lang="ru-RU" sz="1600" b="1" i="1" dirty="0" err="1">
                <a:solidFill>
                  <a:srgbClr val="002060"/>
                </a:solidFill>
                <a:latin typeface="Arial Narrow" pitchFamily="34" charset="0"/>
              </a:rPr>
              <a:t>көзделуде</a:t>
            </a:r>
            <a:endParaRPr lang="ru-RU" sz="1600" b="1" dirty="0">
              <a:solidFill>
                <a:srgbClr val="002060"/>
              </a:solidFill>
              <a:latin typeface="Arial Narrow" pitchFamily="34" charset="0"/>
            </a:endParaRPr>
          </a:p>
        </p:txBody>
      </p:sp>
      <p:sp>
        <p:nvSpPr>
          <p:cNvPr id="6" name="Прямоугольник 5"/>
          <p:cNvSpPr/>
          <p:nvPr/>
        </p:nvSpPr>
        <p:spPr>
          <a:xfrm>
            <a:off x="359450" y="6021552"/>
            <a:ext cx="8193999" cy="414169"/>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p:nvSpPr>
        <p:spPr>
          <a:xfrm>
            <a:off x="4486276" y="1763048"/>
            <a:ext cx="4533900" cy="4293483"/>
          </a:xfrm>
          <a:prstGeom prst="rect">
            <a:avLst/>
          </a:prstGeom>
        </p:spPr>
        <p:txBody>
          <a:bodyPr wrap="square">
            <a:spAutoFit/>
          </a:bodyPr>
          <a:lstStyle/>
          <a:p>
            <a:pPr marL="285750" indent="-285750" algn="just">
              <a:lnSpc>
                <a:spcPct val="150000"/>
              </a:lnSpc>
              <a:buFont typeface="Wingdings" pitchFamily="2" charset="2"/>
              <a:buChar char="Ø"/>
            </a:pPr>
            <a:r>
              <a:rPr lang="ru-RU" dirty="0" err="1">
                <a:latin typeface="Arial Narrow" pitchFamily="34" charset="0"/>
              </a:rPr>
              <a:t>Қазақстанның</a:t>
            </a:r>
            <a:r>
              <a:rPr lang="ru-RU" dirty="0">
                <a:latin typeface="Arial Narrow" pitchFamily="34" charset="0"/>
              </a:rPr>
              <a:t> </a:t>
            </a:r>
            <a:r>
              <a:rPr lang="ru-RU" dirty="0" err="1">
                <a:latin typeface="Arial Narrow" pitchFamily="34" charset="0"/>
              </a:rPr>
              <a:t>қаржыгерлер</a:t>
            </a:r>
            <a:r>
              <a:rPr lang="ru-RU" dirty="0">
                <a:latin typeface="Arial Narrow" pitchFamily="34" charset="0"/>
              </a:rPr>
              <a:t> </a:t>
            </a:r>
            <a:r>
              <a:rPr lang="ru-RU" dirty="0" err="1">
                <a:latin typeface="Arial Narrow" pitchFamily="34" charset="0"/>
              </a:rPr>
              <a:t>қауымдастығы</a:t>
            </a:r>
            <a:endParaRPr lang="ru-RU" dirty="0">
              <a:latin typeface="Arial Narrow" pitchFamily="34" charset="0"/>
            </a:endParaRPr>
          </a:p>
          <a:p>
            <a:pPr marL="285750" indent="-285750" algn="just">
              <a:lnSpc>
                <a:spcPct val="150000"/>
              </a:lnSpc>
              <a:buFont typeface="Wingdings" pitchFamily="2" charset="2"/>
              <a:buChar char="Ø"/>
            </a:pPr>
            <a:r>
              <a:rPr lang="ru-RU" dirty="0">
                <a:latin typeface="Arial Narrow" pitchFamily="34" charset="0"/>
              </a:rPr>
              <a:t>Астана </a:t>
            </a:r>
            <a:r>
              <a:rPr lang="ru-RU" dirty="0" err="1">
                <a:latin typeface="Arial Narrow" pitchFamily="34" charset="0"/>
              </a:rPr>
              <a:t>және</a:t>
            </a:r>
            <a:r>
              <a:rPr lang="ru-RU" dirty="0">
                <a:latin typeface="Arial Narrow" pitchFamily="34" charset="0"/>
              </a:rPr>
              <a:t> Алматы </a:t>
            </a:r>
            <a:r>
              <a:rPr lang="ru-RU" dirty="0" err="1">
                <a:latin typeface="Arial Narrow" pitchFamily="34" charset="0"/>
              </a:rPr>
              <a:t>қалаларының</a:t>
            </a:r>
            <a:r>
              <a:rPr lang="ru-RU" dirty="0">
                <a:latin typeface="Arial Narrow" pitchFamily="34" charset="0"/>
              </a:rPr>
              <a:t>  </a:t>
            </a:r>
            <a:r>
              <a:rPr lang="ru-RU" dirty="0" err="1">
                <a:latin typeface="Arial Narrow" pitchFamily="34" charset="0"/>
              </a:rPr>
              <a:t>пәтерлер</a:t>
            </a:r>
            <a:r>
              <a:rPr lang="ru-RU" dirty="0">
                <a:latin typeface="Arial Narrow" pitchFamily="34" charset="0"/>
              </a:rPr>
              <a:t> </a:t>
            </a:r>
            <a:r>
              <a:rPr lang="ru-RU" dirty="0" err="1">
                <a:latin typeface="Arial Narrow" pitchFamily="34" charset="0"/>
              </a:rPr>
              <a:t>және</a:t>
            </a:r>
            <a:r>
              <a:rPr lang="ru-RU" dirty="0">
                <a:latin typeface="Arial Narrow" pitchFamily="34" charset="0"/>
              </a:rPr>
              <a:t> </a:t>
            </a:r>
            <a:r>
              <a:rPr lang="ru-RU" dirty="0" err="1">
                <a:latin typeface="Arial Narrow" pitchFamily="34" charset="0"/>
              </a:rPr>
              <a:t>үй-жайлар</a:t>
            </a:r>
            <a:r>
              <a:rPr lang="ru-RU" dirty="0">
                <a:latin typeface="Arial Narrow" pitchFamily="34" charset="0"/>
              </a:rPr>
              <a:t>  </a:t>
            </a:r>
            <a:r>
              <a:rPr lang="ru-RU" dirty="0" err="1">
                <a:latin typeface="Arial Narrow" pitchFamily="34" charset="0"/>
              </a:rPr>
              <a:t>меншік</a:t>
            </a:r>
            <a:r>
              <a:rPr lang="ru-RU" dirty="0">
                <a:latin typeface="Arial Narrow" pitchFamily="34" charset="0"/>
              </a:rPr>
              <a:t> </a:t>
            </a:r>
            <a:r>
              <a:rPr lang="ru-RU" dirty="0" err="1">
                <a:latin typeface="Arial Narrow" pitchFamily="34" charset="0"/>
              </a:rPr>
              <a:t>иелері</a:t>
            </a:r>
            <a:r>
              <a:rPr lang="ru-RU" dirty="0">
                <a:latin typeface="Arial Narrow" pitchFamily="34" charset="0"/>
              </a:rPr>
              <a:t> </a:t>
            </a:r>
            <a:r>
              <a:rPr lang="ru-RU" dirty="0" err="1">
                <a:latin typeface="Arial Narrow" pitchFamily="34" charset="0"/>
              </a:rPr>
              <a:t>кооперативтерінің</a:t>
            </a:r>
            <a:r>
              <a:rPr lang="ru-RU" dirty="0">
                <a:latin typeface="Arial Narrow" pitchFamily="34" charset="0"/>
              </a:rPr>
              <a:t> </a:t>
            </a:r>
            <a:r>
              <a:rPr lang="ru-RU" dirty="0" err="1">
                <a:latin typeface="Arial Narrow" pitchFamily="34" charset="0"/>
              </a:rPr>
              <a:t>қауымдастығы</a:t>
            </a:r>
            <a:endParaRPr lang="ru-RU" dirty="0">
              <a:latin typeface="Arial Narrow" pitchFamily="34" charset="0"/>
            </a:endParaRPr>
          </a:p>
          <a:p>
            <a:pPr marL="285750" indent="-285750" algn="just">
              <a:lnSpc>
                <a:spcPct val="150000"/>
              </a:lnSpc>
              <a:buFont typeface="Wingdings" pitchFamily="2" charset="2"/>
              <a:buChar char="Ø"/>
            </a:pPr>
            <a:r>
              <a:rPr lang="ru-RU" dirty="0" err="1">
                <a:latin typeface="Arial Narrow" pitchFamily="34" charset="0"/>
              </a:rPr>
              <a:t>Қазақстандық</a:t>
            </a:r>
            <a:r>
              <a:rPr lang="ru-RU" dirty="0">
                <a:latin typeface="Arial Narrow" pitchFamily="34" charset="0"/>
              </a:rPr>
              <a:t> </a:t>
            </a:r>
            <a:r>
              <a:rPr lang="ru-RU" dirty="0" err="1">
                <a:latin typeface="Arial Narrow" pitchFamily="34" charset="0"/>
              </a:rPr>
              <a:t>жоғары</a:t>
            </a:r>
            <a:r>
              <a:rPr lang="ru-RU" dirty="0">
                <a:latin typeface="Arial Narrow" pitchFamily="34" charset="0"/>
              </a:rPr>
              <a:t> </a:t>
            </a:r>
            <a:r>
              <a:rPr lang="ru-RU" dirty="0" err="1">
                <a:latin typeface="Arial Narrow" pitchFamily="34" charset="0"/>
              </a:rPr>
              <a:t>технологиялар</a:t>
            </a:r>
            <a:r>
              <a:rPr lang="ru-RU" dirty="0">
                <a:latin typeface="Arial Narrow" pitchFamily="34" charset="0"/>
              </a:rPr>
              <a:t>, энергия </a:t>
            </a:r>
            <a:r>
              <a:rPr lang="ru-RU" dirty="0" err="1">
                <a:latin typeface="Arial Narrow" pitchFamily="34" charset="0"/>
              </a:rPr>
              <a:t>тиімді</a:t>
            </a:r>
            <a:r>
              <a:rPr lang="ru-RU" dirty="0">
                <a:latin typeface="Arial Narrow" pitchFamily="34" charset="0"/>
              </a:rPr>
              <a:t> </a:t>
            </a:r>
            <a:r>
              <a:rPr lang="ru-RU" dirty="0" err="1">
                <a:latin typeface="Arial Narrow" pitchFamily="34" charset="0"/>
              </a:rPr>
              <a:t>және</a:t>
            </a:r>
            <a:r>
              <a:rPr lang="ru-RU" dirty="0">
                <a:latin typeface="Arial Narrow" pitchFamily="34" charset="0"/>
              </a:rPr>
              <a:t> </a:t>
            </a:r>
            <a:r>
              <a:rPr lang="ru-RU" dirty="0" err="1">
                <a:latin typeface="Arial Narrow" pitchFamily="34" charset="0"/>
              </a:rPr>
              <a:t>инновациялық</a:t>
            </a:r>
            <a:r>
              <a:rPr lang="ru-RU" dirty="0">
                <a:latin typeface="Arial Narrow" pitchFamily="34" charset="0"/>
              </a:rPr>
              <a:t> </a:t>
            </a:r>
            <a:r>
              <a:rPr lang="ru-RU" dirty="0" err="1">
                <a:latin typeface="Arial Narrow" pitchFamily="34" charset="0"/>
              </a:rPr>
              <a:t>компаниялар</a:t>
            </a:r>
            <a:r>
              <a:rPr lang="ru-RU" dirty="0">
                <a:latin typeface="Arial Narrow" pitchFamily="34" charset="0"/>
              </a:rPr>
              <a:t> </a:t>
            </a:r>
            <a:r>
              <a:rPr lang="ru-RU" dirty="0" err="1">
                <a:latin typeface="Arial Narrow" pitchFamily="34" charset="0"/>
              </a:rPr>
              <a:t>қауымдастығы</a:t>
            </a:r>
            <a:r>
              <a:rPr lang="ru-RU" dirty="0">
                <a:latin typeface="Arial Narrow" pitchFamily="34" charset="0"/>
              </a:rPr>
              <a:t> </a:t>
            </a:r>
          </a:p>
          <a:p>
            <a:pPr marL="285750" indent="-285750" algn="just">
              <a:lnSpc>
                <a:spcPct val="150000"/>
              </a:lnSpc>
              <a:buFont typeface="Wingdings" pitchFamily="2" charset="2"/>
              <a:buChar char="Ø"/>
            </a:pPr>
            <a:r>
              <a:rPr lang="ru-RU" dirty="0" err="1">
                <a:latin typeface="Arial Narrow" pitchFamily="34" charset="0"/>
              </a:rPr>
              <a:t>Энергосервисті</a:t>
            </a:r>
            <a:r>
              <a:rPr lang="ru-RU" dirty="0">
                <a:latin typeface="Arial Narrow" pitchFamily="34" charset="0"/>
              </a:rPr>
              <a:t> </a:t>
            </a:r>
            <a:r>
              <a:rPr lang="ru-RU" dirty="0" err="1">
                <a:latin typeface="Arial Narrow" pitchFamily="34" charset="0"/>
              </a:rPr>
              <a:t>және</a:t>
            </a:r>
            <a:r>
              <a:rPr lang="ru-RU" dirty="0">
                <a:latin typeface="Arial Narrow" pitchFamily="34" charset="0"/>
              </a:rPr>
              <a:t> </a:t>
            </a:r>
            <a:r>
              <a:rPr lang="ru-RU" dirty="0" err="1">
                <a:latin typeface="Arial Narrow" pitchFamily="34" charset="0"/>
              </a:rPr>
              <a:t>сервисті</a:t>
            </a:r>
            <a:r>
              <a:rPr lang="ru-RU" dirty="0">
                <a:latin typeface="Arial Narrow" pitchFamily="34" charset="0"/>
              </a:rPr>
              <a:t> </a:t>
            </a:r>
            <a:r>
              <a:rPr lang="ru-RU" dirty="0" err="1">
                <a:latin typeface="Arial Narrow" pitchFamily="34" charset="0"/>
              </a:rPr>
              <a:t>басқару</a:t>
            </a:r>
            <a:r>
              <a:rPr lang="ru-RU" dirty="0">
                <a:latin typeface="Arial Narrow" pitchFamily="34" charset="0"/>
              </a:rPr>
              <a:t> </a:t>
            </a:r>
            <a:r>
              <a:rPr lang="ru-RU" dirty="0" err="1">
                <a:latin typeface="Arial Narrow" pitchFamily="34" charset="0"/>
              </a:rPr>
              <a:t>субъектілерінің</a:t>
            </a:r>
            <a:r>
              <a:rPr lang="ru-RU" dirty="0">
                <a:latin typeface="Arial Narrow" pitchFamily="34" charset="0"/>
              </a:rPr>
              <a:t> </a:t>
            </a:r>
            <a:r>
              <a:rPr lang="ru-RU" dirty="0" err="1">
                <a:latin typeface="Arial Narrow" pitchFamily="34" charset="0"/>
              </a:rPr>
              <a:t>қауымдастығы</a:t>
            </a:r>
            <a:r>
              <a:rPr lang="ru-RU" dirty="0">
                <a:latin typeface="Arial Narrow" pitchFamily="34" charset="0"/>
              </a:rPr>
              <a:t>  </a:t>
            </a:r>
          </a:p>
          <a:p>
            <a:pPr marL="285750" indent="-285750" algn="just">
              <a:lnSpc>
                <a:spcPct val="150000"/>
              </a:lnSpc>
              <a:buFont typeface="Wingdings" pitchFamily="2" charset="2"/>
              <a:buChar char="Ø"/>
            </a:pPr>
            <a:r>
              <a:rPr lang="ru-RU" dirty="0" err="1">
                <a:latin typeface="Arial Narrow" pitchFamily="34" charset="0"/>
              </a:rPr>
              <a:t>Пәтердер</a:t>
            </a:r>
            <a:r>
              <a:rPr lang="ru-RU" dirty="0">
                <a:latin typeface="Arial Narrow" pitchFamily="34" charset="0"/>
              </a:rPr>
              <a:t> </a:t>
            </a:r>
            <a:r>
              <a:rPr lang="ru-RU" dirty="0" err="1">
                <a:latin typeface="Arial Narrow" pitchFamily="34" charset="0"/>
              </a:rPr>
              <a:t>және</a:t>
            </a:r>
            <a:r>
              <a:rPr lang="ru-RU" dirty="0">
                <a:latin typeface="Arial Narrow" pitchFamily="34" charset="0"/>
              </a:rPr>
              <a:t> </a:t>
            </a:r>
            <a:r>
              <a:rPr lang="ru-RU" dirty="0" err="1">
                <a:latin typeface="Arial Narrow" pitchFamily="34" charset="0"/>
              </a:rPr>
              <a:t>үй-жайлар</a:t>
            </a:r>
            <a:r>
              <a:rPr lang="ru-RU" dirty="0">
                <a:latin typeface="Arial Narrow" pitchFamily="34" charset="0"/>
              </a:rPr>
              <a:t>  </a:t>
            </a:r>
            <a:r>
              <a:rPr lang="ru-RU" dirty="0" err="1">
                <a:latin typeface="Arial Narrow" pitchFamily="34" charset="0"/>
              </a:rPr>
              <a:t>иелері</a:t>
            </a:r>
            <a:r>
              <a:rPr lang="ru-RU" dirty="0">
                <a:latin typeface="Arial Narrow" pitchFamily="34" charset="0"/>
              </a:rPr>
              <a:t> </a:t>
            </a:r>
            <a:r>
              <a:rPr lang="ru-RU" dirty="0" err="1">
                <a:latin typeface="Arial Narrow" pitchFamily="34" charset="0"/>
              </a:rPr>
              <a:t>кооперативтерінің</a:t>
            </a:r>
            <a:r>
              <a:rPr lang="ru-RU" dirty="0">
                <a:latin typeface="Arial Narrow" pitchFamily="34" charset="0"/>
              </a:rPr>
              <a:t> </a:t>
            </a:r>
            <a:r>
              <a:rPr lang="ru-RU" dirty="0" err="1">
                <a:latin typeface="Arial Narrow" pitchFamily="34" charset="0"/>
              </a:rPr>
              <a:t>республикалық</a:t>
            </a:r>
            <a:r>
              <a:rPr lang="ru-RU" dirty="0">
                <a:latin typeface="Arial Narrow" pitchFamily="34" charset="0"/>
              </a:rPr>
              <a:t> </a:t>
            </a:r>
            <a:r>
              <a:rPr lang="ru-RU" dirty="0" err="1">
                <a:latin typeface="Arial Narrow" pitchFamily="34" charset="0"/>
              </a:rPr>
              <a:t>қауымдастығы</a:t>
            </a:r>
            <a:r>
              <a:rPr lang="ru-RU" dirty="0">
                <a:latin typeface="Arial Narrow" pitchFamily="34" charset="0"/>
              </a:rPr>
              <a:t> </a:t>
            </a:r>
          </a:p>
          <a:p>
            <a:pPr marL="285750" indent="-285750" algn="just">
              <a:lnSpc>
                <a:spcPct val="150000"/>
              </a:lnSpc>
              <a:buFont typeface="Wingdings" pitchFamily="2" charset="2"/>
              <a:buChar char="Ø"/>
            </a:pPr>
            <a:r>
              <a:rPr lang="ru-RU" dirty="0">
                <a:latin typeface="Arial Narrow" pitchFamily="34" charset="0"/>
              </a:rPr>
              <a:t>Астана </a:t>
            </a:r>
            <a:r>
              <a:rPr lang="ru-RU" dirty="0" err="1">
                <a:latin typeface="Arial Narrow" pitchFamily="34" charset="0"/>
              </a:rPr>
              <a:t>қаласының</a:t>
            </a:r>
            <a:r>
              <a:rPr lang="ru-RU" dirty="0">
                <a:latin typeface="Arial Narrow" pitchFamily="34" charset="0"/>
              </a:rPr>
              <a:t> </a:t>
            </a:r>
            <a:r>
              <a:rPr lang="ru-RU" dirty="0" err="1">
                <a:latin typeface="Arial Narrow" pitchFamily="34" charset="0"/>
              </a:rPr>
              <a:t>Есіл</a:t>
            </a:r>
            <a:r>
              <a:rPr lang="ru-RU" dirty="0">
                <a:latin typeface="Arial Narrow" pitchFamily="34" charset="0"/>
              </a:rPr>
              <a:t> </a:t>
            </a:r>
            <a:r>
              <a:rPr lang="ru-RU" dirty="0" err="1">
                <a:latin typeface="Arial Narrow" pitchFamily="34" charset="0"/>
              </a:rPr>
              <a:t>ауданы</a:t>
            </a:r>
            <a:r>
              <a:rPr lang="ru-RU" dirty="0">
                <a:latin typeface="Arial Narrow" pitchFamily="34" charset="0"/>
              </a:rPr>
              <a:t> «</a:t>
            </a:r>
            <a:r>
              <a:rPr lang="ru-RU" dirty="0" err="1">
                <a:latin typeface="Arial Narrow" pitchFamily="34" charset="0"/>
              </a:rPr>
              <a:t>Есіл</a:t>
            </a:r>
            <a:r>
              <a:rPr lang="ru-RU" dirty="0">
                <a:latin typeface="Arial Narrow" pitchFamily="34" charset="0"/>
              </a:rPr>
              <a:t>» </a:t>
            </a:r>
            <a:r>
              <a:rPr lang="ru-RU" dirty="0" err="1">
                <a:latin typeface="Arial Narrow" pitchFamily="34" charset="0"/>
              </a:rPr>
              <a:t>басқарушы</a:t>
            </a:r>
            <a:r>
              <a:rPr lang="ru-RU" dirty="0">
                <a:latin typeface="Arial Narrow" pitchFamily="34" charset="0"/>
              </a:rPr>
              <a:t> </a:t>
            </a:r>
            <a:r>
              <a:rPr lang="ru-RU" dirty="0" err="1">
                <a:latin typeface="Arial Narrow" pitchFamily="34" charset="0"/>
              </a:rPr>
              <a:t>органдарының</a:t>
            </a:r>
            <a:r>
              <a:rPr lang="ru-RU" dirty="0">
                <a:latin typeface="Arial Narrow" pitchFamily="34" charset="0"/>
              </a:rPr>
              <a:t> </a:t>
            </a:r>
            <a:r>
              <a:rPr lang="ru-RU" dirty="0" err="1">
                <a:latin typeface="Arial Narrow" pitchFamily="34" charset="0"/>
              </a:rPr>
              <a:t>қауымдастығы</a:t>
            </a:r>
            <a:r>
              <a:rPr lang="ru-RU" dirty="0">
                <a:latin typeface="Arial Narrow" pitchFamily="34" charset="0"/>
              </a:rPr>
              <a:t> </a:t>
            </a:r>
          </a:p>
          <a:p>
            <a:pPr marL="285750" indent="-285750" algn="just">
              <a:lnSpc>
                <a:spcPct val="150000"/>
              </a:lnSpc>
              <a:buFont typeface="Wingdings" pitchFamily="2" charset="2"/>
              <a:buChar char="Ø"/>
            </a:pPr>
            <a:r>
              <a:rPr lang="ru-RU" dirty="0" err="1">
                <a:latin typeface="Arial Narrow" pitchFamily="34" charset="0"/>
              </a:rPr>
              <a:t>Қазақстан</a:t>
            </a:r>
            <a:r>
              <a:rPr lang="ru-RU" dirty="0">
                <a:latin typeface="Arial Narrow" pitchFamily="34" charset="0"/>
              </a:rPr>
              <a:t> </a:t>
            </a:r>
            <a:r>
              <a:rPr lang="ru-RU" dirty="0" err="1">
                <a:latin typeface="Arial Narrow" pitchFamily="34" charset="0"/>
              </a:rPr>
              <a:t>құрылыс</a:t>
            </a:r>
            <a:r>
              <a:rPr lang="ru-RU" dirty="0">
                <a:latin typeface="Arial Narrow" pitchFamily="34" charset="0"/>
              </a:rPr>
              <a:t> </a:t>
            </a:r>
            <a:r>
              <a:rPr lang="ru-RU" dirty="0" err="1">
                <a:latin typeface="Arial Narrow" pitchFamily="34" charset="0"/>
              </a:rPr>
              <a:t>салушылар</a:t>
            </a:r>
            <a:r>
              <a:rPr lang="ru-RU" dirty="0">
                <a:latin typeface="Arial Narrow" pitchFamily="34" charset="0"/>
              </a:rPr>
              <a:t> </a:t>
            </a:r>
            <a:r>
              <a:rPr lang="ru-RU" dirty="0" err="1">
                <a:latin typeface="Arial Narrow" pitchFamily="34" charset="0"/>
              </a:rPr>
              <a:t>қауымдастығы</a:t>
            </a:r>
            <a:r>
              <a:rPr lang="ru-RU" dirty="0">
                <a:latin typeface="Arial Narrow" pitchFamily="34" charset="0"/>
              </a:rPr>
              <a:t>: «BI-</a:t>
            </a:r>
            <a:r>
              <a:rPr lang="ru-RU" dirty="0" err="1">
                <a:latin typeface="Arial Narrow" pitchFamily="34" charset="0"/>
              </a:rPr>
              <a:t>Service</a:t>
            </a:r>
            <a:r>
              <a:rPr lang="ru-RU" dirty="0">
                <a:latin typeface="Arial Narrow" pitchFamily="34" charset="0"/>
              </a:rPr>
              <a:t>», «Базис-А», «ORDA INVEST» </a:t>
            </a:r>
            <a:r>
              <a:rPr lang="ru-RU" dirty="0" err="1">
                <a:latin typeface="Arial Narrow" pitchFamily="34" charset="0"/>
              </a:rPr>
              <a:t>және</a:t>
            </a:r>
            <a:r>
              <a:rPr lang="ru-RU" dirty="0">
                <a:latin typeface="Arial Narrow" pitchFamily="34" charset="0"/>
              </a:rPr>
              <a:t> </a:t>
            </a:r>
            <a:r>
              <a:rPr lang="ru-RU" dirty="0" err="1">
                <a:latin typeface="Arial Narrow" pitchFamily="34" charset="0"/>
              </a:rPr>
              <a:t>т.б</a:t>
            </a:r>
            <a:r>
              <a:rPr lang="ru-RU" dirty="0">
                <a:latin typeface="Arial Narrow" pitchFamily="34" charset="0"/>
              </a:rPr>
              <a:t>. </a:t>
            </a:r>
          </a:p>
        </p:txBody>
      </p:sp>
      <p:sp>
        <p:nvSpPr>
          <p:cNvPr id="11" name="Прямоугольник 10"/>
          <p:cNvSpPr/>
          <p:nvPr/>
        </p:nvSpPr>
        <p:spPr>
          <a:xfrm>
            <a:off x="289995" y="1178193"/>
            <a:ext cx="8558730" cy="338554"/>
          </a:xfrm>
          <a:prstGeom prst="rect">
            <a:avLst/>
          </a:prstGeom>
        </p:spPr>
        <p:txBody>
          <a:bodyPr wrap="square">
            <a:spAutoFit/>
          </a:bodyPr>
          <a:lstStyle/>
          <a:p>
            <a:pPr algn="ctr"/>
            <a:r>
              <a:rPr lang="ru-RU" sz="1600" b="1" dirty="0" err="1">
                <a:solidFill>
                  <a:srgbClr val="002060"/>
                </a:solidFill>
                <a:latin typeface="Arial Narrow" pitchFamily="34" charset="0"/>
              </a:rPr>
              <a:t>Жұмыс</a:t>
            </a:r>
            <a:r>
              <a:rPr lang="ru-RU" sz="1600" b="1" dirty="0">
                <a:solidFill>
                  <a:srgbClr val="002060"/>
                </a:solidFill>
                <a:latin typeface="Arial Narrow" pitchFamily="34" charset="0"/>
              </a:rPr>
              <a:t> </a:t>
            </a:r>
            <a:r>
              <a:rPr lang="ru-RU" sz="1600" b="1" dirty="0" err="1">
                <a:solidFill>
                  <a:srgbClr val="002060"/>
                </a:solidFill>
                <a:latin typeface="Arial Narrow" pitchFamily="34" charset="0"/>
              </a:rPr>
              <a:t>тобы</a:t>
            </a:r>
            <a:r>
              <a:rPr lang="ru-RU" sz="1600" b="1" dirty="0">
                <a:solidFill>
                  <a:srgbClr val="002060"/>
                </a:solidFill>
                <a:latin typeface="Arial Narrow" pitchFamily="34" charset="0"/>
              </a:rPr>
              <a:t> </a:t>
            </a:r>
            <a:r>
              <a:rPr lang="ru-RU" sz="1600" b="1" dirty="0" err="1">
                <a:solidFill>
                  <a:srgbClr val="002060"/>
                </a:solidFill>
                <a:latin typeface="Arial Narrow" pitchFamily="34" charset="0"/>
              </a:rPr>
              <a:t>құрамына</a:t>
            </a:r>
            <a:r>
              <a:rPr lang="ru-RU" sz="1600" b="1" dirty="0">
                <a:solidFill>
                  <a:srgbClr val="002060"/>
                </a:solidFill>
                <a:latin typeface="Arial Narrow" pitchFamily="34" charset="0"/>
              </a:rPr>
              <a:t> </a:t>
            </a:r>
            <a:r>
              <a:rPr lang="ru-RU" sz="1600" b="1" dirty="0" err="1">
                <a:solidFill>
                  <a:srgbClr val="002060"/>
                </a:solidFill>
                <a:latin typeface="Arial Narrow" pitchFamily="34" charset="0"/>
              </a:rPr>
              <a:t>барлық</a:t>
            </a:r>
            <a:r>
              <a:rPr lang="ru-RU" sz="1600" b="1" dirty="0">
                <a:solidFill>
                  <a:srgbClr val="002060"/>
                </a:solidFill>
                <a:latin typeface="Arial Narrow" pitchFamily="34" charset="0"/>
              </a:rPr>
              <a:t> </a:t>
            </a:r>
            <a:r>
              <a:rPr lang="ru-RU" sz="1600" b="1" dirty="0" err="1">
                <a:solidFill>
                  <a:srgbClr val="002060"/>
                </a:solidFill>
                <a:latin typeface="Arial Narrow" pitchFamily="34" charset="0"/>
              </a:rPr>
              <a:t>тұрғын</a:t>
            </a:r>
            <a:r>
              <a:rPr lang="ru-RU" sz="1600" b="1" dirty="0">
                <a:solidFill>
                  <a:srgbClr val="002060"/>
                </a:solidFill>
                <a:latin typeface="Arial Narrow" pitchFamily="34" charset="0"/>
              </a:rPr>
              <a:t> </a:t>
            </a:r>
            <a:r>
              <a:rPr lang="ru-RU" sz="1600" b="1" dirty="0" err="1">
                <a:solidFill>
                  <a:srgbClr val="002060"/>
                </a:solidFill>
                <a:latin typeface="Arial Narrow" pitchFamily="34" charset="0"/>
              </a:rPr>
              <a:t>үй</a:t>
            </a:r>
            <a:r>
              <a:rPr lang="ru-RU" sz="1600" b="1" dirty="0">
                <a:solidFill>
                  <a:srgbClr val="002060"/>
                </a:solidFill>
                <a:latin typeface="Arial Narrow" pitchFamily="34" charset="0"/>
              </a:rPr>
              <a:t> </a:t>
            </a:r>
            <a:r>
              <a:rPr lang="ru-RU" sz="1600" b="1" dirty="0" err="1">
                <a:solidFill>
                  <a:srgbClr val="002060"/>
                </a:solidFill>
                <a:latin typeface="Arial Narrow" pitchFamily="34" charset="0"/>
              </a:rPr>
              <a:t>қатынастары</a:t>
            </a:r>
            <a:r>
              <a:rPr lang="ru-RU" sz="1600" b="1" dirty="0">
                <a:solidFill>
                  <a:srgbClr val="002060"/>
                </a:solidFill>
                <a:latin typeface="Arial Narrow" pitchFamily="34" charset="0"/>
              </a:rPr>
              <a:t> </a:t>
            </a:r>
            <a:r>
              <a:rPr lang="ru-RU" sz="1600" b="1" dirty="0" err="1">
                <a:solidFill>
                  <a:srgbClr val="002060"/>
                </a:solidFill>
                <a:latin typeface="Arial Narrow" pitchFamily="34" charset="0"/>
              </a:rPr>
              <a:t>субъектілерінің</a:t>
            </a:r>
            <a:r>
              <a:rPr lang="ru-RU" sz="1600" b="1" dirty="0">
                <a:solidFill>
                  <a:srgbClr val="002060"/>
                </a:solidFill>
                <a:latin typeface="Arial Narrow" pitchFamily="34" charset="0"/>
              </a:rPr>
              <a:t> </a:t>
            </a:r>
            <a:r>
              <a:rPr lang="ru-RU" sz="1600" b="1" dirty="0" err="1">
                <a:solidFill>
                  <a:srgbClr val="002060"/>
                </a:solidFill>
                <a:latin typeface="Arial Narrow" pitchFamily="34" charset="0"/>
              </a:rPr>
              <a:t>өкілдері</a:t>
            </a:r>
            <a:r>
              <a:rPr lang="ru-RU" sz="1600" b="1" dirty="0">
                <a:solidFill>
                  <a:srgbClr val="002060"/>
                </a:solidFill>
                <a:latin typeface="Arial Narrow" pitchFamily="34" charset="0"/>
              </a:rPr>
              <a:t> </a:t>
            </a:r>
            <a:r>
              <a:rPr lang="ru-RU" sz="1600" b="1" dirty="0" err="1">
                <a:solidFill>
                  <a:srgbClr val="002060"/>
                </a:solidFill>
                <a:latin typeface="Arial Narrow" pitchFamily="34" charset="0"/>
              </a:rPr>
              <a:t>кірді</a:t>
            </a:r>
            <a:endParaRPr lang="ru-RU" sz="1600" b="1" dirty="0">
              <a:solidFill>
                <a:srgbClr val="002060"/>
              </a:solidFill>
              <a:latin typeface="Arial Narrow" pitchFamily="34" charset="0"/>
            </a:endParaRPr>
          </a:p>
        </p:txBody>
      </p:sp>
    </p:spTree>
    <p:extLst>
      <p:ext uri="{BB962C8B-B14F-4D97-AF65-F5344CB8AC3E}">
        <p14:creationId xmlns:p14="http://schemas.microsoft.com/office/powerpoint/2010/main" val="30755703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16386" name="Object 2"/>
          <p:cNvGraphicFramePr>
            <a:graphicFrameLocks noChangeAspect="1"/>
          </p:cNvGraphicFramePr>
          <p:nvPr>
            <p:custDataLst>
              <p:tags r:id="rId2"/>
            </p:custDataLst>
          </p:nvPr>
        </p:nvGraphicFramePr>
        <p:xfrm>
          <a:off x="1144192" y="1590"/>
          <a:ext cx="1190" cy="1587"/>
        </p:xfrm>
        <a:graphic>
          <a:graphicData uri="http://schemas.openxmlformats.org/presentationml/2006/ole">
            <mc:AlternateContent xmlns:mc="http://schemas.openxmlformats.org/markup-compatibility/2006">
              <mc:Choice xmlns:v="urn:schemas-microsoft-com:vml" Requires="v">
                <p:oleObj spid="_x0000_s309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192" y="1590"/>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Прямоугольник 14"/>
          <p:cNvSpPr/>
          <p:nvPr/>
        </p:nvSpPr>
        <p:spPr>
          <a:xfrm>
            <a:off x="0" y="4659"/>
            <a:ext cx="9144000" cy="338554"/>
          </a:xfrm>
          <a:prstGeom prst="rect">
            <a:avLst/>
          </a:prstGeom>
          <a:solidFill>
            <a:srgbClr val="0070C0"/>
          </a:solidFill>
          <a:effectLst/>
        </p:spPr>
        <p:txBody>
          <a:bodyPr wrap="square" lIns="91440" tIns="45720" rIns="91440" bIns="45720">
            <a:spAutoFit/>
          </a:bodyPr>
          <a:lstStyle/>
          <a:p>
            <a:pPr algn="ctr"/>
            <a:r>
              <a:rPr lang="ru-RU" sz="1600" b="1" dirty="0" smtClean="0">
                <a:solidFill>
                  <a:schemeClr val="bg1"/>
                </a:solidFill>
                <a:latin typeface="Arial" panose="020B0604020202020204" pitchFamily="34" charset="0"/>
                <a:cs typeface="Arial" panose="020B0604020202020204" pitchFamily="34" charset="0"/>
              </a:rPr>
              <a:t> ТҰРҒЫН ҮЙ ҚОРЫНЫҢ АҒЫМДАҒЫ ЖАҒДАЙЫН ТАЛДАУ* </a:t>
            </a:r>
            <a:endParaRPr lang="ru-RU" sz="1600" b="1" dirty="0">
              <a:solidFill>
                <a:schemeClr val="bg1"/>
              </a:solidFill>
              <a:latin typeface="Arial" panose="020B0604020202020204" pitchFamily="34" charset="0"/>
              <a:cs typeface="Arial" panose="020B0604020202020204" pitchFamily="34" charset="0"/>
            </a:endParaRPr>
          </a:p>
        </p:txBody>
      </p:sp>
      <p:sp>
        <p:nvSpPr>
          <p:cNvPr id="6" name="Прямоугольник 5"/>
          <p:cNvSpPr/>
          <p:nvPr/>
        </p:nvSpPr>
        <p:spPr>
          <a:xfrm>
            <a:off x="368127" y="5375076"/>
            <a:ext cx="8594897" cy="830997"/>
          </a:xfrm>
          <a:prstGeom prst="rect">
            <a:avLst/>
          </a:prstGeom>
          <a:solidFill>
            <a:schemeClr val="bg1">
              <a:lumMod val="95000"/>
            </a:schemeClr>
          </a:solidFill>
          <a:ln>
            <a:solidFill>
              <a:schemeClr val="bg1">
                <a:lumMod val="95000"/>
              </a:schemeClr>
            </a:solidFill>
          </a:ln>
        </p:spPr>
        <p:txBody>
          <a:bodyPr wrap="square">
            <a:spAutoFit/>
          </a:bodyPr>
          <a:lstStyle/>
          <a:p>
            <a:pPr lvl="0">
              <a:lnSpc>
                <a:spcPct val="150000"/>
              </a:lnSpc>
            </a:pPr>
            <a:r>
              <a:rPr lang="kk-KZ" sz="1600" b="1" dirty="0" smtClean="0">
                <a:ln w="0"/>
                <a:latin typeface="Arial Narrow" pitchFamily="34" charset="0"/>
              </a:rPr>
              <a:t>Заң жобасымен «Тұрғын үй қатынастары туралы» Заңына жаңа ұғымдар енгізілуде: көппәтерлі тұрғын үй (КТҮ), мүліктін меншік иелерінің бірлестігі (МИБ), нысаналы жарна, авариялы КТҮ.</a:t>
            </a:r>
            <a:endParaRPr lang="ru-RU" sz="1600" b="1" dirty="0">
              <a:ln w="0"/>
              <a:latin typeface="Arial Narrow" pitchFamily="34" charset="0"/>
            </a:endParaRPr>
          </a:p>
        </p:txBody>
      </p:sp>
      <p:sp>
        <p:nvSpPr>
          <p:cNvPr id="17" name="Номер слайда 2"/>
          <p:cNvSpPr>
            <a:spLocks noGrp="1"/>
          </p:cNvSpPr>
          <p:nvPr>
            <p:ph type="sldNum" sz="quarter" idx="12"/>
          </p:nvPr>
        </p:nvSpPr>
        <p:spPr>
          <a:xfrm>
            <a:off x="8735154" y="6451601"/>
            <a:ext cx="294546" cy="365125"/>
          </a:xfrm>
        </p:spPr>
        <p:txBody>
          <a:bodyPr/>
          <a:lstStyle/>
          <a:p>
            <a:fld id="{5B7F4A50-1F8C-475C-94C6-2D50DD7E8F1E}" type="slidenum">
              <a:rPr lang="en-US" smtClean="0">
                <a:solidFill>
                  <a:schemeClr val="tx1"/>
                </a:solidFill>
              </a:rPr>
              <a:t>3</a:t>
            </a:fld>
            <a:endParaRPr lang="en-US" dirty="0">
              <a:solidFill>
                <a:schemeClr val="tx1"/>
              </a:solidFill>
            </a:endParaRPr>
          </a:p>
        </p:txBody>
      </p:sp>
      <p:sp>
        <p:nvSpPr>
          <p:cNvPr id="23" name="Полилиния 22"/>
          <p:cNvSpPr/>
          <p:nvPr/>
        </p:nvSpPr>
        <p:spPr>
          <a:xfrm>
            <a:off x="1654176" y="1142468"/>
            <a:ext cx="2496576" cy="458008"/>
          </a:xfrm>
          <a:custGeom>
            <a:avLst/>
            <a:gdLst>
              <a:gd name="connsiteX0" fmla="*/ 87537 w 2278380"/>
              <a:gd name="connsiteY0" fmla="*/ 0 h 401638"/>
              <a:gd name="connsiteX1" fmla="*/ 2190843 w 2278380"/>
              <a:gd name="connsiteY1" fmla="*/ 0 h 401638"/>
              <a:gd name="connsiteX2" fmla="*/ 2278380 w 2278380"/>
              <a:gd name="connsiteY2" fmla="*/ 87537 h 401638"/>
              <a:gd name="connsiteX3" fmla="*/ 2278380 w 2278380"/>
              <a:gd name="connsiteY3" fmla="*/ 245457 h 401638"/>
              <a:gd name="connsiteX4" fmla="*/ 2278380 w 2278380"/>
              <a:gd name="connsiteY4" fmla="*/ 314101 h 401638"/>
              <a:gd name="connsiteX5" fmla="*/ 2278380 w 2278380"/>
              <a:gd name="connsiteY5" fmla="*/ 398462 h 401638"/>
              <a:gd name="connsiteX6" fmla="*/ 2206574 w 2278380"/>
              <a:gd name="connsiteY6" fmla="*/ 398462 h 401638"/>
              <a:gd name="connsiteX7" fmla="*/ 2190843 w 2278380"/>
              <a:gd name="connsiteY7" fmla="*/ 401638 h 401638"/>
              <a:gd name="connsiteX8" fmla="*/ 87537 w 2278380"/>
              <a:gd name="connsiteY8" fmla="*/ 401638 h 401638"/>
              <a:gd name="connsiteX9" fmla="*/ 71806 w 2278380"/>
              <a:gd name="connsiteY9" fmla="*/ 398462 h 401638"/>
              <a:gd name="connsiteX10" fmla="*/ 0 w 2278380"/>
              <a:gd name="connsiteY10" fmla="*/ 398462 h 401638"/>
              <a:gd name="connsiteX11" fmla="*/ 0 w 2278380"/>
              <a:gd name="connsiteY11" fmla="*/ 314101 h 401638"/>
              <a:gd name="connsiteX12" fmla="*/ 0 w 2278380"/>
              <a:gd name="connsiteY12" fmla="*/ 245457 h 401638"/>
              <a:gd name="connsiteX13" fmla="*/ 0 w 2278380"/>
              <a:gd name="connsiteY13" fmla="*/ 87537 h 401638"/>
              <a:gd name="connsiteX14" fmla="*/ 87537 w 2278380"/>
              <a:gd name="connsiteY14"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8380" h="401638">
                <a:moveTo>
                  <a:pt x="87537" y="0"/>
                </a:moveTo>
                <a:lnTo>
                  <a:pt x="2190843" y="0"/>
                </a:lnTo>
                <a:cubicBezTo>
                  <a:pt x="2239188" y="0"/>
                  <a:pt x="2278380" y="39192"/>
                  <a:pt x="2278380" y="87537"/>
                </a:cubicBezTo>
                <a:lnTo>
                  <a:pt x="2278380" y="245457"/>
                </a:lnTo>
                <a:lnTo>
                  <a:pt x="2278380" y="314101"/>
                </a:lnTo>
                <a:lnTo>
                  <a:pt x="2278380" y="398462"/>
                </a:lnTo>
                <a:lnTo>
                  <a:pt x="2206574" y="398462"/>
                </a:lnTo>
                <a:lnTo>
                  <a:pt x="2190843" y="401638"/>
                </a:lnTo>
                <a:lnTo>
                  <a:pt x="87537" y="401638"/>
                </a:lnTo>
                <a:lnTo>
                  <a:pt x="71806" y="398462"/>
                </a:lnTo>
                <a:lnTo>
                  <a:pt x="0" y="398462"/>
                </a:lnTo>
                <a:lnTo>
                  <a:pt x="0" y="314101"/>
                </a:lnTo>
                <a:lnTo>
                  <a:pt x="0" y="245457"/>
                </a:lnTo>
                <a:lnTo>
                  <a:pt x="0" y="87537"/>
                </a:lnTo>
                <a:cubicBezTo>
                  <a:pt x="0" y="39192"/>
                  <a:pt x="39192" y="0"/>
                  <a:pt x="87537" y="0"/>
                </a:cubicBezTo>
                <a:close/>
              </a:path>
            </a:pathLst>
          </a:custGeom>
          <a:solidFill>
            <a:srgbClr val="959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Скругленный прямоугольник 23"/>
          <p:cNvSpPr/>
          <p:nvPr/>
        </p:nvSpPr>
        <p:spPr>
          <a:xfrm>
            <a:off x="1654176" y="1617132"/>
            <a:ext cx="2496576" cy="458008"/>
          </a:xfrm>
          <a:prstGeom prst="roundRect">
            <a:avLst>
              <a:gd name="adj" fmla="val 0"/>
            </a:avLst>
          </a:prstGeom>
          <a:solidFill>
            <a:srgbClr val="F6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Скругленный прямоугольник 24"/>
          <p:cNvSpPr/>
          <p:nvPr/>
        </p:nvSpPr>
        <p:spPr>
          <a:xfrm>
            <a:off x="1654176" y="2105778"/>
            <a:ext cx="2496576" cy="458008"/>
          </a:xfrm>
          <a:prstGeom prst="roundRect">
            <a:avLst>
              <a:gd name="adj" fmla="val 0"/>
            </a:avLst>
          </a:prstGeom>
          <a:solidFill>
            <a:srgbClr val="8BD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Полилиния 25"/>
          <p:cNvSpPr/>
          <p:nvPr/>
        </p:nvSpPr>
        <p:spPr>
          <a:xfrm flipV="1">
            <a:off x="1651516" y="2589966"/>
            <a:ext cx="2496576" cy="458008"/>
          </a:xfrm>
          <a:custGeom>
            <a:avLst/>
            <a:gdLst>
              <a:gd name="connsiteX0" fmla="*/ 87537 w 2278380"/>
              <a:gd name="connsiteY0" fmla="*/ 0 h 401638"/>
              <a:gd name="connsiteX1" fmla="*/ 2190843 w 2278380"/>
              <a:gd name="connsiteY1" fmla="*/ 0 h 401638"/>
              <a:gd name="connsiteX2" fmla="*/ 2278380 w 2278380"/>
              <a:gd name="connsiteY2" fmla="*/ 87537 h 401638"/>
              <a:gd name="connsiteX3" fmla="*/ 2278380 w 2278380"/>
              <a:gd name="connsiteY3" fmla="*/ 245457 h 401638"/>
              <a:gd name="connsiteX4" fmla="*/ 2278380 w 2278380"/>
              <a:gd name="connsiteY4" fmla="*/ 314101 h 401638"/>
              <a:gd name="connsiteX5" fmla="*/ 2278380 w 2278380"/>
              <a:gd name="connsiteY5" fmla="*/ 398462 h 401638"/>
              <a:gd name="connsiteX6" fmla="*/ 2206574 w 2278380"/>
              <a:gd name="connsiteY6" fmla="*/ 398462 h 401638"/>
              <a:gd name="connsiteX7" fmla="*/ 2190843 w 2278380"/>
              <a:gd name="connsiteY7" fmla="*/ 401638 h 401638"/>
              <a:gd name="connsiteX8" fmla="*/ 87537 w 2278380"/>
              <a:gd name="connsiteY8" fmla="*/ 401638 h 401638"/>
              <a:gd name="connsiteX9" fmla="*/ 71806 w 2278380"/>
              <a:gd name="connsiteY9" fmla="*/ 398462 h 401638"/>
              <a:gd name="connsiteX10" fmla="*/ 0 w 2278380"/>
              <a:gd name="connsiteY10" fmla="*/ 398462 h 401638"/>
              <a:gd name="connsiteX11" fmla="*/ 0 w 2278380"/>
              <a:gd name="connsiteY11" fmla="*/ 314101 h 401638"/>
              <a:gd name="connsiteX12" fmla="*/ 0 w 2278380"/>
              <a:gd name="connsiteY12" fmla="*/ 245457 h 401638"/>
              <a:gd name="connsiteX13" fmla="*/ 0 w 2278380"/>
              <a:gd name="connsiteY13" fmla="*/ 87537 h 401638"/>
              <a:gd name="connsiteX14" fmla="*/ 87537 w 2278380"/>
              <a:gd name="connsiteY14" fmla="*/ 0 h 401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78380" h="401638">
                <a:moveTo>
                  <a:pt x="87537" y="0"/>
                </a:moveTo>
                <a:lnTo>
                  <a:pt x="2190843" y="0"/>
                </a:lnTo>
                <a:cubicBezTo>
                  <a:pt x="2239188" y="0"/>
                  <a:pt x="2278380" y="39192"/>
                  <a:pt x="2278380" y="87537"/>
                </a:cubicBezTo>
                <a:lnTo>
                  <a:pt x="2278380" y="245457"/>
                </a:lnTo>
                <a:lnTo>
                  <a:pt x="2278380" y="314101"/>
                </a:lnTo>
                <a:lnTo>
                  <a:pt x="2278380" y="398462"/>
                </a:lnTo>
                <a:lnTo>
                  <a:pt x="2206574" y="398462"/>
                </a:lnTo>
                <a:lnTo>
                  <a:pt x="2190843" y="401638"/>
                </a:lnTo>
                <a:lnTo>
                  <a:pt x="87537" y="401638"/>
                </a:lnTo>
                <a:lnTo>
                  <a:pt x="71806" y="398462"/>
                </a:lnTo>
                <a:lnTo>
                  <a:pt x="0" y="398462"/>
                </a:lnTo>
                <a:lnTo>
                  <a:pt x="0" y="314101"/>
                </a:lnTo>
                <a:lnTo>
                  <a:pt x="0" y="245457"/>
                </a:lnTo>
                <a:lnTo>
                  <a:pt x="0" y="87537"/>
                </a:lnTo>
                <a:cubicBezTo>
                  <a:pt x="0" y="39192"/>
                  <a:pt x="39192" y="0"/>
                  <a:pt x="87537" y="0"/>
                </a:cubicBezTo>
                <a:close/>
              </a:path>
            </a:pathLst>
          </a:custGeom>
          <a:solidFill>
            <a:srgbClr val="0094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27" name="Диаграмма 26"/>
          <p:cNvGraphicFramePr/>
          <p:nvPr>
            <p:extLst>
              <p:ext uri="{D42A27DB-BD31-4B8C-83A1-F6EECF244321}">
                <p14:modId xmlns:p14="http://schemas.microsoft.com/office/powerpoint/2010/main" val="3856247906"/>
              </p:ext>
            </p:extLst>
          </p:nvPr>
        </p:nvGraphicFramePr>
        <p:xfrm>
          <a:off x="-522655" y="760391"/>
          <a:ext cx="3654193" cy="2524431"/>
        </p:xfrm>
        <a:graphic>
          <a:graphicData uri="http://schemas.openxmlformats.org/drawingml/2006/chart">
            <c:chart xmlns:c="http://schemas.openxmlformats.org/drawingml/2006/chart" xmlns:r="http://schemas.openxmlformats.org/officeDocument/2006/relationships" r:id="rId7"/>
          </a:graphicData>
        </a:graphic>
      </p:graphicFrame>
      <p:sp>
        <p:nvSpPr>
          <p:cNvPr id="28" name="Овал 27"/>
          <p:cNvSpPr/>
          <p:nvPr/>
        </p:nvSpPr>
        <p:spPr>
          <a:xfrm>
            <a:off x="505103" y="1179787"/>
            <a:ext cx="1651369" cy="16986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Прямоугольник 28"/>
          <p:cNvSpPr/>
          <p:nvPr/>
        </p:nvSpPr>
        <p:spPr>
          <a:xfrm>
            <a:off x="2874227" y="1167691"/>
            <a:ext cx="951443" cy="400110"/>
          </a:xfrm>
          <a:prstGeom prst="rect">
            <a:avLst/>
          </a:prstGeom>
        </p:spPr>
        <p:txBody>
          <a:bodyPr wrap="square">
            <a:spAutoFit/>
          </a:bodyPr>
          <a:lstStyle/>
          <a:p>
            <a:pPr fontAlgn="base">
              <a:lnSpc>
                <a:spcPts val="2400"/>
              </a:lnSpc>
              <a:spcBef>
                <a:spcPct val="0"/>
              </a:spcBef>
              <a:spcAft>
                <a:spcPct val="0"/>
              </a:spcAft>
            </a:pPr>
            <a:r>
              <a:rPr lang="ru-RU" sz="2000" dirty="0" smtClean="0">
                <a:solidFill>
                  <a:schemeClr val="bg1"/>
                </a:solidFill>
                <a:latin typeface="Lato Medium" panose="020F0602020204030203" pitchFamily="34" charset="0"/>
                <a:cs typeface="Iskoola Pota" panose="020B0502040204020203" pitchFamily="34" charset="0"/>
              </a:rPr>
              <a:t>2.8%</a:t>
            </a:r>
            <a:endParaRPr lang="ru-RU" sz="2000" dirty="0">
              <a:solidFill>
                <a:schemeClr val="bg1"/>
              </a:solidFill>
              <a:latin typeface="Lato Medium" panose="020F0602020204030203" pitchFamily="34" charset="0"/>
              <a:cs typeface="Iskoola Pota" panose="020B0502040204020203" pitchFamily="34" charset="0"/>
            </a:endParaRPr>
          </a:p>
        </p:txBody>
      </p:sp>
      <p:sp>
        <p:nvSpPr>
          <p:cNvPr id="30" name="Прямоугольник 29"/>
          <p:cNvSpPr/>
          <p:nvPr/>
        </p:nvSpPr>
        <p:spPr>
          <a:xfrm>
            <a:off x="2883752" y="1654453"/>
            <a:ext cx="951443" cy="400110"/>
          </a:xfrm>
          <a:prstGeom prst="rect">
            <a:avLst/>
          </a:prstGeom>
        </p:spPr>
        <p:txBody>
          <a:bodyPr wrap="square">
            <a:spAutoFit/>
          </a:bodyPr>
          <a:lstStyle/>
          <a:p>
            <a:pPr fontAlgn="base">
              <a:lnSpc>
                <a:spcPts val="2400"/>
              </a:lnSpc>
              <a:spcBef>
                <a:spcPct val="0"/>
              </a:spcBef>
              <a:spcAft>
                <a:spcPct val="0"/>
              </a:spcAft>
            </a:pPr>
            <a:r>
              <a:rPr lang="ru-RU" sz="2000" dirty="0" smtClean="0">
                <a:solidFill>
                  <a:schemeClr val="bg1"/>
                </a:solidFill>
                <a:latin typeface="Lato Medium" panose="020F0602020204030203" pitchFamily="34" charset="0"/>
                <a:cs typeface="Iskoola Pota" panose="020B0502040204020203" pitchFamily="34" charset="0"/>
              </a:rPr>
              <a:t>3.4%</a:t>
            </a:r>
            <a:endParaRPr lang="ru-RU" sz="2000" dirty="0">
              <a:solidFill>
                <a:schemeClr val="bg1"/>
              </a:solidFill>
              <a:latin typeface="Lato Medium" panose="020F0602020204030203" pitchFamily="34" charset="0"/>
              <a:cs typeface="Iskoola Pota" panose="020B0502040204020203" pitchFamily="34" charset="0"/>
            </a:endParaRPr>
          </a:p>
        </p:txBody>
      </p:sp>
      <p:sp>
        <p:nvSpPr>
          <p:cNvPr id="31" name="Прямоугольник 30"/>
          <p:cNvSpPr/>
          <p:nvPr/>
        </p:nvSpPr>
        <p:spPr>
          <a:xfrm>
            <a:off x="2864702" y="2163026"/>
            <a:ext cx="951443" cy="400110"/>
          </a:xfrm>
          <a:prstGeom prst="rect">
            <a:avLst/>
          </a:prstGeom>
        </p:spPr>
        <p:txBody>
          <a:bodyPr wrap="square">
            <a:spAutoFit/>
          </a:bodyPr>
          <a:lstStyle/>
          <a:p>
            <a:pPr fontAlgn="base">
              <a:lnSpc>
                <a:spcPts val="2400"/>
              </a:lnSpc>
              <a:spcBef>
                <a:spcPct val="0"/>
              </a:spcBef>
              <a:spcAft>
                <a:spcPct val="0"/>
              </a:spcAft>
            </a:pPr>
            <a:r>
              <a:rPr lang="ru-RU" sz="2000" dirty="0" smtClean="0">
                <a:solidFill>
                  <a:schemeClr val="bg1"/>
                </a:solidFill>
                <a:latin typeface="Lato Medium" panose="020F0602020204030203" pitchFamily="34" charset="0"/>
                <a:cs typeface="Iskoola Pota" panose="020B0502040204020203" pitchFamily="34" charset="0"/>
              </a:rPr>
              <a:t>26.1%</a:t>
            </a:r>
            <a:endParaRPr lang="ru-RU" sz="2000" dirty="0">
              <a:solidFill>
                <a:schemeClr val="bg1"/>
              </a:solidFill>
              <a:latin typeface="Lato Medium" panose="020F0602020204030203" pitchFamily="34" charset="0"/>
              <a:cs typeface="Iskoola Pota" panose="020B0502040204020203" pitchFamily="34" charset="0"/>
            </a:endParaRPr>
          </a:p>
        </p:txBody>
      </p:sp>
      <p:pic>
        <p:nvPicPr>
          <p:cNvPr id="32" name="Picture 2" descr="Похожее изображение"/>
          <p:cNvPicPr>
            <a:picLocks noChangeAspect="1" noChangeArrowheads="1"/>
          </p:cNvPicPr>
          <p:nvPr/>
        </p:nvPicPr>
        <p:blipFill>
          <a:blip r:embed="rId8" cstate="print">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982665" y="1548668"/>
            <a:ext cx="947878" cy="947878"/>
          </a:xfrm>
          <a:prstGeom prst="rect">
            <a:avLst/>
          </a:prstGeom>
          <a:noFill/>
          <a:extLst>
            <a:ext uri="{909E8E84-426E-40DD-AFC4-6F175D3DCCD1}">
              <a14:hiddenFill xmlns:a14="http://schemas.microsoft.com/office/drawing/2010/main">
                <a:solidFill>
                  <a:srgbClr val="FFFFFF"/>
                </a:solidFill>
              </a14:hiddenFill>
            </a:ext>
          </a:extLst>
        </p:spPr>
      </p:pic>
      <p:sp>
        <p:nvSpPr>
          <p:cNvPr id="33" name="Прямоугольник 32"/>
          <p:cNvSpPr/>
          <p:nvPr/>
        </p:nvSpPr>
        <p:spPr>
          <a:xfrm>
            <a:off x="2845652" y="2640263"/>
            <a:ext cx="951443" cy="400110"/>
          </a:xfrm>
          <a:prstGeom prst="rect">
            <a:avLst/>
          </a:prstGeom>
        </p:spPr>
        <p:txBody>
          <a:bodyPr wrap="square">
            <a:spAutoFit/>
          </a:bodyPr>
          <a:lstStyle/>
          <a:p>
            <a:pPr fontAlgn="base">
              <a:lnSpc>
                <a:spcPts val="2400"/>
              </a:lnSpc>
              <a:spcBef>
                <a:spcPct val="0"/>
              </a:spcBef>
              <a:spcAft>
                <a:spcPct val="0"/>
              </a:spcAft>
            </a:pPr>
            <a:r>
              <a:rPr lang="ru-RU" sz="2000" dirty="0" smtClean="0">
                <a:solidFill>
                  <a:schemeClr val="bg1"/>
                </a:solidFill>
                <a:latin typeface="Lato Medium" panose="020F0602020204030203" pitchFamily="34" charset="0"/>
                <a:cs typeface="Iskoola Pota" panose="020B0502040204020203" pitchFamily="34" charset="0"/>
              </a:rPr>
              <a:t>67.7%</a:t>
            </a:r>
            <a:endParaRPr lang="ru-RU" sz="2000" dirty="0">
              <a:solidFill>
                <a:schemeClr val="bg1"/>
              </a:solidFill>
              <a:latin typeface="Lato Medium" panose="020F0602020204030203" pitchFamily="34" charset="0"/>
              <a:cs typeface="Iskoola Pota" panose="020B0502040204020203" pitchFamily="34" charset="0"/>
            </a:endParaRPr>
          </a:p>
        </p:txBody>
      </p:sp>
      <p:sp>
        <p:nvSpPr>
          <p:cNvPr id="34" name="Прямоугольник 33"/>
          <p:cNvSpPr/>
          <p:nvPr/>
        </p:nvSpPr>
        <p:spPr>
          <a:xfrm>
            <a:off x="596805" y="1831375"/>
            <a:ext cx="1548624" cy="461665"/>
          </a:xfrm>
          <a:prstGeom prst="rect">
            <a:avLst/>
          </a:prstGeom>
        </p:spPr>
        <p:txBody>
          <a:bodyPr wrap="square">
            <a:spAutoFit/>
          </a:bodyPr>
          <a:lstStyle/>
          <a:p>
            <a:r>
              <a:rPr lang="ru-RU" sz="2400" dirty="0">
                <a:latin typeface="Lato Medium" panose="020F0602020204030203" pitchFamily="34" charset="0"/>
                <a:cs typeface="Iskoola Pota" panose="020B0502040204020203" pitchFamily="34" charset="0"/>
              </a:rPr>
              <a:t>117 </a:t>
            </a:r>
            <a:r>
              <a:rPr lang="ru-RU" sz="2400" dirty="0" smtClean="0">
                <a:latin typeface="Lato Medium" panose="020F0602020204030203" pitchFamily="34" charset="0"/>
                <a:cs typeface="Iskoola Pota" panose="020B0502040204020203" pitchFamily="34" charset="0"/>
              </a:rPr>
              <a:t>861.7 </a:t>
            </a:r>
            <a:endParaRPr lang="ru-RU" sz="2400" dirty="0"/>
          </a:p>
        </p:txBody>
      </p:sp>
      <p:sp>
        <p:nvSpPr>
          <p:cNvPr id="35" name="Прямоугольник 34"/>
          <p:cNvSpPr/>
          <p:nvPr/>
        </p:nvSpPr>
        <p:spPr>
          <a:xfrm>
            <a:off x="1143000" y="2129168"/>
            <a:ext cx="1034247" cy="307777"/>
          </a:xfrm>
          <a:prstGeom prst="rect">
            <a:avLst/>
          </a:prstGeom>
        </p:spPr>
        <p:txBody>
          <a:bodyPr wrap="square">
            <a:spAutoFit/>
          </a:bodyPr>
          <a:lstStyle/>
          <a:p>
            <a:r>
              <a:rPr lang="ru-RU" dirty="0" err="1" smtClean="0">
                <a:latin typeface="Lato Medium" panose="020F0602020204030203" pitchFamily="34" charset="0"/>
                <a:cs typeface="Iskoola Pota" panose="020B0502040204020203" pitchFamily="34" charset="0"/>
              </a:rPr>
              <a:t>мың</a:t>
            </a:r>
            <a:r>
              <a:rPr lang="ru-RU" sz="1400" dirty="0" smtClean="0">
                <a:latin typeface="Lato Medium" panose="020F0602020204030203" pitchFamily="34" charset="0"/>
                <a:cs typeface="Iskoola Pota" panose="020B0502040204020203" pitchFamily="34" charset="0"/>
              </a:rPr>
              <a:t> </a:t>
            </a:r>
            <a:r>
              <a:rPr lang="ru-RU" sz="1400" dirty="0" err="1" smtClean="0">
                <a:latin typeface="Lato Medium" panose="020F0602020204030203" pitchFamily="34" charset="0"/>
                <a:cs typeface="Iskoola Pota" panose="020B0502040204020203" pitchFamily="34" charset="0"/>
              </a:rPr>
              <a:t>ш.м</a:t>
            </a:r>
            <a:endParaRPr lang="ru-RU" sz="1400" dirty="0"/>
          </a:p>
        </p:txBody>
      </p:sp>
      <p:sp>
        <p:nvSpPr>
          <p:cNvPr id="36" name="Прямоугольник 35"/>
          <p:cNvSpPr/>
          <p:nvPr/>
        </p:nvSpPr>
        <p:spPr>
          <a:xfrm>
            <a:off x="616041" y="1645377"/>
            <a:ext cx="1513960" cy="246221"/>
          </a:xfrm>
          <a:prstGeom prst="rect">
            <a:avLst/>
          </a:prstGeom>
        </p:spPr>
        <p:txBody>
          <a:bodyPr wrap="square">
            <a:spAutoFit/>
          </a:bodyPr>
          <a:lstStyle/>
          <a:p>
            <a:r>
              <a:rPr lang="ru-RU" sz="1000" dirty="0" smtClean="0">
                <a:latin typeface="Lato Medium" panose="020F0602020204030203" pitchFamily="34" charset="0"/>
                <a:cs typeface="Iskoola Pota" panose="020B0502040204020203" pitchFamily="34" charset="0"/>
              </a:rPr>
              <a:t>КТҮ </a:t>
            </a:r>
            <a:r>
              <a:rPr lang="ru-RU" sz="1000" dirty="0" err="1" smtClean="0">
                <a:latin typeface="Lato Medium" panose="020F0602020204030203" pitchFamily="34" charset="0"/>
                <a:cs typeface="Iskoola Pota" panose="020B0502040204020203" pitchFamily="34" charset="0"/>
              </a:rPr>
              <a:t>жалпы</a:t>
            </a:r>
            <a:r>
              <a:rPr lang="ru-RU" sz="1000" dirty="0" smtClean="0">
                <a:latin typeface="Lato Medium" panose="020F0602020204030203" pitchFamily="34" charset="0"/>
                <a:cs typeface="Iskoola Pota" panose="020B0502040204020203" pitchFamily="34" charset="0"/>
              </a:rPr>
              <a:t> </a:t>
            </a:r>
            <a:r>
              <a:rPr lang="ru-RU" sz="1000" dirty="0" err="1" smtClean="0">
                <a:latin typeface="Lato Medium" panose="020F0602020204030203" pitchFamily="34" charset="0"/>
                <a:cs typeface="Iskoola Pota" panose="020B0502040204020203" pitchFamily="34" charset="0"/>
              </a:rPr>
              <a:t>алаңы</a:t>
            </a:r>
            <a:r>
              <a:rPr lang="ru-RU" sz="1000" dirty="0" smtClean="0">
                <a:latin typeface="Lato Medium" panose="020F0602020204030203" pitchFamily="34" charset="0"/>
                <a:cs typeface="Iskoola Pota" panose="020B0502040204020203" pitchFamily="34" charset="0"/>
              </a:rPr>
              <a:t> </a:t>
            </a:r>
            <a:endParaRPr lang="ru-RU" sz="1000" dirty="0"/>
          </a:p>
        </p:txBody>
      </p:sp>
      <p:sp>
        <p:nvSpPr>
          <p:cNvPr id="37" name="Скругленный прямоугольник 36"/>
          <p:cNvSpPr/>
          <p:nvPr/>
        </p:nvSpPr>
        <p:spPr>
          <a:xfrm rot="5400000">
            <a:off x="4161992" y="2817542"/>
            <a:ext cx="294564" cy="45719"/>
          </a:xfrm>
          <a:prstGeom prst="roundRect">
            <a:avLst>
              <a:gd name="adj" fmla="val 50000"/>
            </a:avLst>
          </a:prstGeom>
          <a:solidFill>
            <a:srgbClr val="0094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00"/>
          </a:p>
        </p:txBody>
      </p:sp>
      <p:sp>
        <p:nvSpPr>
          <p:cNvPr id="38" name="Прямоугольник 37"/>
          <p:cNvSpPr/>
          <p:nvPr/>
        </p:nvSpPr>
        <p:spPr>
          <a:xfrm>
            <a:off x="4334828" y="2674122"/>
            <a:ext cx="4871066" cy="292388"/>
          </a:xfrm>
          <a:prstGeom prst="rect">
            <a:avLst/>
          </a:prstGeom>
        </p:spPr>
        <p:txBody>
          <a:bodyPr wrap="square">
            <a:spAutoFit/>
          </a:bodyPr>
          <a:lstStyle/>
          <a:p>
            <a:pPr algn="just">
              <a:defRPr/>
            </a:pPr>
            <a:r>
              <a:rPr lang="ru-RU" sz="1300" dirty="0" err="1" smtClean="0">
                <a:latin typeface="Lato Medium" panose="020F0602020204030203" pitchFamily="34" charset="0"/>
                <a:cs typeface="Iskoola Pota" panose="020B0502040204020203" pitchFamily="34" charset="0"/>
              </a:rPr>
              <a:t>қанағаттанарлық</a:t>
            </a:r>
            <a:r>
              <a:rPr lang="ru-RU" sz="1300" dirty="0" smtClean="0">
                <a:latin typeface="Lato Medium" panose="020F0602020204030203" pitchFamily="34" charset="0"/>
                <a:cs typeface="Iskoola Pota" panose="020B0502040204020203" pitchFamily="34" charset="0"/>
              </a:rPr>
              <a:t> </a:t>
            </a:r>
            <a:r>
              <a:rPr lang="ru-RU" sz="1300" dirty="0" err="1" smtClean="0">
                <a:latin typeface="Lato Medium" panose="020F0602020204030203" pitchFamily="34" charset="0"/>
                <a:cs typeface="Iskoola Pota" panose="020B0502040204020203" pitchFamily="34" charset="0"/>
              </a:rPr>
              <a:t>жағдайдағылары</a:t>
            </a:r>
            <a:r>
              <a:rPr lang="ru-RU" sz="1300" dirty="0" smtClean="0">
                <a:latin typeface="Lato Medium" panose="020F0602020204030203" pitchFamily="34" charset="0"/>
                <a:cs typeface="Iskoola Pota" panose="020B0502040204020203" pitchFamily="34" charset="0"/>
              </a:rPr>
              <a:t> - </a:t>
            </a:r>
            <a:r>
              <a:rPr lang="ru-RU" sz="1300" b="1" dirty="0">
                <a:latin typeface="Lato Medium" panose="020F0602020204030203" pitchFamily="34" charset="0"/>
                <a:cs typeface="Iskoola Pota" panose="020B0502040204020203" pitchFamily="34" charset="0"/>
              </a:rPr>
              <a:t>53 089 </a:t>
            </a:r>
            <a:r>
              <a:rPr lang="ru-RU" sz="1300" b="1" dirty="0" err="1" smtClean="0">
                <a:latin typeface="Lato Medium" panose="020F0602020204030203" pitchFamily="34" charset="0"/>
                <a:cs typeface="Iskoola Pota" panose="020B0502040204020203" pitchFamily="34" charset="0"/>
              </a:rPr>
              <a:t>бірл</a:t>
            </a:r>
            <a:r>
              <a:rPr lang="ru-RU" sz="1300" b="1" dirty="0" smtClean="0">
                <a:latin typeface="Lato Medium" panose="020F0602020204030203" pitchFamily="34" charset="0"/>
                <a:cs typeface="Iskoola Pota" panose="020B0502040204020203" pitchFamily="34" charset="0"/>
              </a:rPr>
              <a:t>. </a:t>
            </a:r>
            <a:endParaRPr lang="ru-RU" sz="1300" b="1" dirty="0">
              <a:latin typeface="Lato Medium" panose="020F0602020204030203" pitchFamily="34" charset="0"/>
              <a:cs typeface="Iskoola Pota" panose="020B0502040204020203" pitchFamily="34" charset="0"/>
            </a:endParaRPr>
          </a:p>
        </p:txBody>
      </p:sp>
      <p:sp>
        <p:nvSpPr>
          <p:cNvPr id="39" name="Скругленный прямоугольник 38"/>
          <p:cNvSpPr/>
          <p:nvPr/>
        </p:nvSpPr>
        <p:spPr>
          <a:xfrm rot="5400000">
            <a:off x="4161992" y="2316880"/>
            <a:ext cx="294564" cy="45719"/>
          </a:xfrm>
          <a:prstGeom prst="roundRect">
            <a:avLst>
              <a:gd name="adj" fmla="val 50000"/>
            </a:avLst>
          </a:prstGeom>
          <a:solidFill>
            <a:srgbClr val="8BD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00"/>
          </a:p>
        </p:txBody>
      </p:sp>
      <p:sp>
        <p:nvSpPr>
          <p:cNvPr id="40" name="Прямоугольник 39"/>
          <p:cNvSpPr/>
          <p:nvPr/>
        </p:nvSpPr>
        <p:spPr>
          <a:xfrm>
            <a:off x="4334828" y="2173460"/>
            <a:ext cx="4871066" cy="292388"/>
          </a:xfrm>
          <a:prstGeom prst="rect">
            <a:avLst/>
          </a:prstGeom>
        </p:spPr>
        <p:txBody>
          <a:bodyPr wrap="square">
            <a:spAutoFit/>
          </a:bodyPr>
          <a:lstStyle/>
          <a:p>
            <a:pPr algn="just">
              <a:defRPr/>
            </a:pPr>
            <a:r>
              <a:rPr lang="ru-RU" sz="1300" dirty="0" err="1">
                <a:latin typeface="Lato Medium" panose="020F0602020204030203" pitchFamily="34" charset="0"/>
                <a:cs typeface="Iskoola Pota" panose="020B0502040204020203" pitchFamily="34" charset="0"/>
              </a:rPr>
              <a:t>к</a:t>
            </a:r>
            <a:r>
              <a:rPr lang="ru-RU" sz="1300" dirty="0" err="1" smtClean="0">
                <a:latin typeface="Lato Medium" panose="020F0602020204030203" pitchFamily="34" charset="0"/>
                <a:cs typeface="Iskoola Pota" panose="020B0502040204020203" pitchFamily="34" charset="0"/>
              </a:rPr>
              <a:t>үрделі</a:t>
            </a:r>
            <a:r>
              <a:rPr lang="ru-RU" sz="1300" dirty="0" smtClean="0">
                <a:latin typeface="Lato Medium" panose="020F0602020204030203" pitchFamily="34" charset="0"/>
                <a:cs typeface="Iskoola Pota" panose="020B0502040204020203" pitchFamily="34" charset="0"/>
              </a:rPr>
              <a:t> </a:t>
            </a:r>
            <a:r>
              <a:rPr lang="ru-RU" sz="1300" dirty="0" err="1" smtClean="0">
                <a:latin typeface="Lato Medium" panose="020F0602020204030203" pitchFamily="34" charset="0"/>
                <a:cs typeface="Iskoola Pota" panose="020B0502040204020203" pitchFamily="34" charset="0"/>
              </a:rPr>
              <a:t>жөндеу</a:t>
            </a:r>
            <a:r>
              <a:rPr lang="ru-RU" sz="1300" dirty="0" smtClean="0">
                <a:latin typeface="Lato Medium" panose="020F0602020204030203" pitchFamily="34" charset="0"/>
                <a:cs typeface="Iskoola Pota" panose="020B0502040204020203" pitchFamily="34" charset="0"/>
              </a:rPr>
              <a:t> </a:t>
            </a:r>
            <a:r>
              <a:rPr lang="ru-RU" sz="1300" dirty="0" err="1" smtClean="0">
                <a:latin typeface="Lato Medium" panose="020F0602020204030203" pitchFamily="34" charset="0"/>
                <a:cs typeface="Iskoola Pota" panose="020B0502040204020203" pitchFamily="34" charset="0"/>
              </a:rPr>
              <a:t>жүргізуді</a:t>
            </a:r>
            <a:r>
              <a:rPr lang="ru-RU" sz="1300" dirty="0" smtClean="0">
                <a:latin typeface="Lato Medium" panose="020F0602020204030203" pitchFamily="34" charset="0"/>
                <a:cs typeface="Iskoola Pota" panose="020B0502040204020203" pitchFamily="34" charset="0"/>
              </a:rPr>
              <a:t> </a:t>
            </a:r>
            <a:r>
              <a:rPr lang="ru-RU" sz="1300" dirty="0" err="1" smtClean="0">
                <a:latin typeface="Lato Medium" panose="020F0602020204030203" pitchFamily="34" charset="0"/>
                <a:cs typeface="Iskoola Pota" panose="020B0502040204020203" pitchFamily="34" charset="0"/>
              </a:rPr>
              <a:t>талап</a:t>
            </a:r>
            <a:r>
              <a:rPr lang="ru-RU" sz="1300" dirty="0" smtClean="0">
                <a:latin typeface="Lato Medium" panose="020F0602020204030203" pitchFamily="34" charset="0"/>
                <a:cs typeface="Iskoola Pota" panose="020B0502040204020203" pitchFamily="34" charset="0"/>
              </a:rPr>
              <a:t> </a:t>
            </a:r>
            <a:r>
              <a:rPr lang="ru-RU" sz="1300" dirty="0" err="1" smtClean="0">
                <a:latin typeface="Lato Medium" panose="020F0602020204030203" pitchFamily="34" charset="0"/>
                <a:cs typeface="Iskoola Pota" panose="020B0502040204020203" pitchFamily="34" charset="0"/>
              </a:rPr>
              <a:t>ететіндері</a:t>
            </a:r>
            <a:r>
              <a:rPr lang="ru-RU" sz="1300" dirty="0" smtClean="0">
                <a:latin typeface="Lato Medium" panose="020F0602020204030203" pitchFamily="34" charset="0"/>
                <a:cs typeface="Iskoola Pota" panose="020B0502040204020203" pitchFamily="34" charset="0"/>
              </a:rPr>
              <a:t> - </a:t>
            </a:r>
            <a:r>
              <a:rPr lang="ru-RU" sz="1300" b="1" dirty="0" smtClean="0">
                <a:latin typeface="Lato Medium" panose="020F0602020204030203" pitchFamily="34" charset="0"/>
                <a:cs typeface="Iskoola Pota" panose="020B0502040204020203" pitchFamily="34" charset="0"/>
              </a:rPr>
              <a:t>20 </a:t>
            </a:r>
            <a:r>
              <a:rPr lang="ru-RU" sz="1300" b="1" dirty="0">
                <a:latin typeface="Lato Medium" panose="020F0602020204030203" pitchFamily="34" charset="0"/>
                <a:cs typeface="Iskoola Pota" panose="020B0502040204020203" pitchFamily="34" charset="0"/>
              </a:rPr>
              <a:t>437 </a:t>
            </a:r>
            <a:r>
              <a:rPr lang="ru-RU" sz="1300" b="1" dirty="0" err="1" smtClean="0">
                <a:latin typeface="Lato Medium" panose="020F0602020204030203" pitchFamily="34" charset="0"/>
                <a:cs typeface="Iskoola Pota" panose="020B0502040204020203" pitchFamily="34" charset="0"/>
              </a:rPr>
              <a:t>бірл</a:t>
            </a:r>
            <a:r>
              <a:rPr lang="ru-RU" sz="1300" b="1" dirty="0" smtClean="0">
                <a:latin typeface="Lato Medium" panose="020F0602020204030203" pitchFamily="34" charset="0"/>
                <a:cs typeface="Iskoola Pota" panose="020B0502040204020203" pitchFamily="34" charset="0"/>
              </a:rPr>
              <a:t>. </a:t>
            </a:r>
            <a:endParaRPr lang="ru-RU" sz="1300" b="1" dirty="0">
              <a:latin typeface="Lato Medium" panose="020F0602020204030203" pitchFamily="34" charset="0"/>
              <a:cs typeface="Iskoola Pota" panose="020B0502040204020203" pitchFamily="34" charset="0"/>
            </a:endParaRPr>
          </a:p>
        </p:txBody>
      </p:sp>
      <p:sp>
        <p:nvSpPr>
          <p:cNvPr id="41" name="Скругленный прямоугольник 40"/>
          <p:cNvSpPr/>
          <p:nvPr/>
        </p:nvSpPr>
        <p:spPr>
          <a:xfrm rot="5400000">
            <a:off x="4161992" y="1811929"/>
            <a:ext cx="294564" cy="45719"/>
          </a:xfrm>
          <a:prstGeom prst="roundRect">
            <a:avLst>
              <a:gd name="adj" fmla="val 50000"/>
            </a:avLst>
          </a:prstGeom>
          <a:solidFill>
            <a:srgbClr val="F6A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00"/>
          </a:p>
        </p:txBody>
      </p:sp>
      <p:sp>
        <p:nvSpPr>
          <p:cNvPr id="42" name="Прямоугольник 41"/>
          <p:cNvSpPr/>
          <p:nvPr/>
        </p:nvSpPr>
        <p:spPr>
          <a:xfrm>
            <a:off x="4334828" y="1668509"/>
            <a:ext cx="4871066" cy="292388"/>
          </a:xfrm>
          <a:prstGeom prst="rect">
            <a:avLst/>
          </a:prstGeom>
        </p:spPr>
        <p:txBody>
          <a:bodyPr wrap="square">
            <a:spAutoFit/>
          </a:bodyPr>
          <a:lstStyle/>
          <a:p>
            <a:pPr algn="just">
              <a:defRPr/>
            </a:pPr>
            <a:r>
              <a:rPr lang="ru-RU" sz="1300" dirty="0" smtClean="0">
                <a:latin typeface="Lato Medium" panose="020F0602020204030203" pitchFamily="34" charset="0"/>
                <a:cs typeface="Iskoola Pota" panose="020B0502040204020203" pitchFamily="34" charset="0"/>
              </a:rPr>
              <a:t>ҚР РБ </a:t>
            </a:r>
            <a:r>
              <a:rPr lang="ru-RU" sz="1300" dirty="0" err="1" smtClean="0">
                <a:latin typeface="Lato Medium" panose="020F0602020204030203" pitchFamily="34" charset="0"/>
                <a:cs typeface="Iskoola Pota" panose="020B0502040204020203" pitchFamily="34" charset="0"/>
              </a:rPr>
              <a:t>есебінен</a:t>
            </a:r>
            <a:r>
              <a:rPr lang="ru-RU" sz="1300" dirty="0" smtClean="0">
                <a:latin typeface="Lato Medium" panose="020F0602020204030203" pitchFamily="34" charset="0"/>
                <a:cs typeface="Iskoola Pota" panose="020B0502040204020203" pitchFamily="34" charset="0"/>
              </a:rPr>
              <a:t> </a:t>
            </a:r>
            <a:r>
              <a:rPr lang="ru-RU" sz="1300" dirty="0" err="1" smtClean="0">
                <a:latin typeface="Lato Medium" panose="020F0602020204030203" pitchFamily="34" charset="0"/>
                <a:cs typeface="Iskoola Pota" panose="020B0502040204020203" pitchFamily="34" charset="0"/>
              </a:rPr>
              <a:t>жөнделген</a:t>
            </a:r>
            <a:r>
              <a:rPr lang="ru-RU" sz="1300" dirty="0" smtClean="0">
                <a:latin typeface="Lato Medium" panose="020F0602020204030203" pitchFamily="34" charset="0"/>
                <a:cs typeface="Iskoola Pota" panose="020B0502040204020203" pitchFamily="34" charset="0"/>
              </a:rPr>
              <a:t> КТҮ </a:t>
            </a:r>
            <a:r>
              <a:rPr lang="ru-RU" sz="1300" dirty="0">
                <a:latin typeface="Lato Medium" panose="020F0602020204030203" pitchFamily="34" charset="0"/>
                <a:cs typeface="Iskoola Pota" panose="020B0502040204020203" pitchFamily="34" charset="0"/>
              </a:rPr>
              <a:t>– </a:t>
            </a:r>
            <a:r>
              <a:rPr lang="ru-RU" sz="1300" b="1" dirty="0">
                <a:latin typeface="Lato Medium" panose="020F0602020204030203" pitchFamily="34" charset="0"/>
                <a:cs typeface="Iskoola Pota" panose="020B0502040204020203" pitchFamily="34" charset="0"/>
              </a:rPr>
              <a:t>2 669 </a:t>
            </a:r>
            <a:r>
              <a:rPr lang="ru-RU" sz="1300" b="1" dirty="0" err="1" smtClean="0">
                <a:latin typeface="Lato Medium" panose="020F0602020204030203" pitchFamily="34" charset="0"/>
                <a:cs typeface="Iskoola Pota" panose="020B0502040204020203" pitchFamily="34" charset="0"/>
              </a:rPr>
              <a:t>бірл</a:t>
            </a:r>
            <a:r>
              <a:rPr lang="ru-RU" sz="1300" b="1" dirty="0" smtClean="0">
                <a:latin typeface="Lato Medium" panose="020F0602020204030203" pitchFamily="34" charset="0"/>
                <a:cs typeface="Iskoola Pota" panose="020B0502040204020203" pitchFamily="34" charset="0"/>
              </a:rPr>
              <a:t>. </a:t>
            </a:r>
            <a:endParaRPr lang="ru-RU" sz="1300" b="1" dirty="0">
              <a:latin typeface="Lato Medium" panose="020F0602020204030203" pitchFamily="34" charset="0"/>
              <a:cs typeface="Iskoola Pota" panose="020B0502040204020203" pitchFamily="34" charset="0"/>
            </a:endParaRPr>
          </a:p>
        </p:txBody>
      </p:sp>
      <p:sp>
        <p:nvSpPr>
          <p:cNvPr id="43" name="Скругленный прямоугольник 42"/>
          <p:cNvSpPr/>
          <p:nvPr/>
        </p:nvSpPr>
        <p:spPr>
          <a:xfrm rot="5400000">
            <a:off x="4161992" y="1310996"/>
            <a:ext cx="294564" cy="45719"/>
          </a:xfrm>
          <a:prstGeom prst="roundRect">
            <a:avLst>
              <a:gd name="adj" fmla="val 50000"/>
            </a:avLst>
          </a:prstGeom>
          <a:solidFill>
            <a:srgbClr val="959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00"/>
          </a:p>
        </p:txBody>
      </p:sp>
      <p:sp>
        <p:nvSpPr>
          <p:cNvPr id="44" name="Прямоугольник 43"/>
          <p:cNvSpPr/>
          <p:nvPr/>
        </p:nvSpPr>
        <p:spPr>
          <a:xfrm>
            <a:off x="4334828" y="1167576"/>
            <a:ext cx="4871066" cy="292388"/>
          </a:xfrm>
          <a:prstGeom prst="rect">
            <a:avLst/>
          </a:prstGeom>
        </p:spPr>
        <p:txBody>
          <a:bodyPr wrap="square">
            <a:spAutoFit/>
          </a:bodyPr>
          <a:lstStyle/>
          <a:p>
            <a:pPr algn="just">
              <a:defRPr/>
            </a:pPr>
            <a:r>
              <a:rPr lang="ru-RU" sz="1300" dirty="0" err="1">
                <a:latin typeface="Lato Medium" panose="020F0602020204030203" pitchFamily="34" charset="0"/>
                <a:cs typeface="Iskoola Pota" panose="020B0502040204020203" pitchFamily="34" charset="0"/>
              </a:rPr>
              <a:t>а</a:t>
            </a:r>
            <a:r>
              <a:rPr lang="ru-RU" sz="1300" dirty="0" err="1" smtClean="0">
                <a:latin typeface="Lato Medium" panose="020F0602020204030203" pitchFamily="34" charset="0"/>
                <a:cs typeface="Iskoola Pota" panose="020B0502040204020203" pitchFamily="34" charset="0"/>
              </a:rPr>
              <a:t>вариялы</a:t>
            </a:r>
            <a:r>
              <a:rPr lang="ru-RU" sz="1300" dirty="0" smtClean="0">
                <a:latin typeface="Lato Medium" panose="020F0602020204030203" pitchFamily="34" charset="0"/>
                <a:cs typeface="Iskoola Pota" panose="020B0502040204020203" pitchFamily="34" charset="0"/>
              </a:rPr>
              <a:t> </a:t>
            </a:r>
            <a:r>
              <a:rPr lang="ru-RU" sz="1300" dirty="0" err="1" smtClean="0">
                <a:latin typeface="Lato Medium" panose="020F0602020204030203" pitchFamily="34" charset="0"/>
                <a:cs typeface="Iskoola Pota" panose="020B0502040204020203" pitchFamily="34" charset="0"/>
              </a:rPr>
              <a:t>жағдайдағылары</a:t>
            </a:r>
            <a:r>
              <a:rPr lang="ru-RU" sz="1300" dirty="0" smtClean="0">
                <a:latin typeface="Lato Medium" panose="020F0602020204030203" pitchFamily="34" charset="0"/>
                <a:cs typeface="Iskoola Pota" panose="020B0502040204020203" pitchFamily="34" charset="0"/>
              </a:rPr>
              <a:t> </a:t>
            </a:r>
            <a:r>
              <a:rPr lang="ru-RU" sz="1300" dirty="0">
                <a:latin typeface="Lato Medium" panose="020F0602020204030203" pitchFamily="34" charset="0"/>
                <a:cs typeface="Iskoola Pota" panose="020B0502040204020203" pitchFamily="34" charset="0"/>
              </a:rPr>
              <a:t>- </a:t>
            </a:r>
            <a:r>
              <a:rPr lang="ru-RU" sz="1300" b="1" dirty="0">
                <a:latin typeface="Lato Medium" panose="020F0602020204030203" pitchFamily="34" charset="0"/>
                <a:cs typeface="Iskoola Pota" panose="020B0502040204020203" pitchFamily="34" charset="0"/>
              </a:rPr>
              <a:t>2 176 </a:t>
            </a:r>
            <a:r>
              <a:rPr lang="ru-RU" sz="1300" b="1" dirty="0" err="1" smtClean="0">
                <a:latin typeface="Lato Medium" panose="020F0602020204030203" pitchFamily="34" charset="0"/>
                <a:cs typeface="Iskoola Pota" panose="020B0502040204020203" pitchFamily="34" charset="0"/>
              </a:rPr>
              <a:t>бірл</a:t>
            </a:r>
            <a:r>
              <a:rPr lang="ru-RU" sz="1300" b="1" dirty="0" smtClean="0">
                <a:latin typeface="Lato Medium" panose="020F0602020204030203" pitchFamily="34" charset="0"/>
                <a:cs typeface="Iskoola Pota" panose="020B0502040204020203" pitchFamily="34" charset="0"/>
              </a:rPr>
              <a:t>. </a:t>
            </a:r>
            <a:endParaRPr lang="ru-RU" sz="1300" b="1" dirty="0">
              <a:latin typeface="Lato Medium" panose="020F0602020204030203" pitchFamily="34" charset="0"/>
              <a:cs typeface="Iskoola Pota" panose="020B0502040204020203" pitchFamily="34" charset="0"/>
            </a:endParaRPr>
          </a:p>
        </p:txBody>
      </p:sp>
      <p:sp>
        <p:nvSpPr>
          <p:cNvPr id="45" name="Нашивка 44"/>
          <p:cNvSpPr/>
          <p:nvPr/>
        </p:nvSpPr>
        <p:spPr>
          <a:xfrm>
            <a:off x="921966" y="3406638"/>
            <a:ext cx="5459783" cy="727212"/>
          </a:xfrm>
          <a:prstGeom prst="chevr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600" b="1" dirty="0" smtClean="0">
                <a:solidFill>
                  <a:schemeClr val="tx1"/>
                </a:solidFill>
                <a:latin typeface="Arial KK EK" pitchFamily="34" charset="0"/>
              </a:rPr>
              <a:t>ҚР </a:t>
            </a:r>
            <a:r>
              <a:rPr lang="ru-RU" sz="1600" b="1" dirty="0" err="1" smtClean="0">
                <a:solidFill>
                  <a:schemeClr val="tx1"/>
                </a:solidFill>
                <a:latin typeface="Arial KK EK" pitchFamily="34" charset="0"/>
              </a:rPr>
              <a:t>тұрғын</a:t>
            </a:r>
            <a:r>
              <a:rPr lang="ru-RU" sz="1600" b="1" dirty="0" smtClean="0">
                <a:solidFill>
                  <a:schemeClr val="tx1"/>
                </a:solidFill>
                <a:latin typeface="Arial KK EK" pitchFamily="34" charset="0"/>
              </a:rPr>
              <a:t> </a:t>
            </a:r>
            <a:r>
              <a:rPr lang="ru-RU" sz="1600" b="1" dirty="0" err="1" smtClean="0">
                <a:solidFill>
                  <a:schemeClr val="tx1"/>
                </a:solidFill>
                <a:latin typeface="Arial KK EK" pitchFamily="34" charset="0"/>
              </a:rPr>
              <a:t>үй</a:t>
            </a:r>
            <a:r>
              <a:rPr lang="ru-RU" sz="1600" b="1" dirty="0" smtClean="0">
                <a:solidFill>
                  <a:schemeClr val="tx1"/>
                </a:solidFill>
                <a:latin typeface="Arial KK EK" pitchFamily="34" charset="0"/>
              </a:rPr>
              <a:t> </a:t>
            </a:r>
            <a:r>
              <a:rPr lang="ru-RU" sz="1600" b="1" dirty="0" err="1" smtClean="0">
                <a:solidFill>
                  <a:schemeClr val="tx1"/>
                </a:solidFill>
                <a:latin typeface="Arial KK EK" pitchFamily="34" charset="0"/>
              </a:rPr>
              <a:t>қоры</a:t>
            </a:r>
            <a:r>
              <a:rPr lang="ru-RU" sz="1600" b="1" dirty="0" smtClean="0">
                <a:solidFill>
                  <a:schemeClr val="tx1"/>
                </a:solidFill>
                <a:latin typeface="Arial KK EK" pitchFamily="34" charset="0"/>
              </a:rPr>
              <a:t> </a:t>
            </a:r>
            <a:r>
              <a:rPr lang="ru-RU" sz="1600" b="1" dirty="0">
                <a:solidFill>
                  <a:schemeClr val="tx1"/>
                </a:solidFill>
                <a:latin typeface="Arial KK EK" pitchFamily="34" charset="0"/>
              </a:rPr>
              <a:t>–</a:t>
            </a:r>
            <a:r>
              <a:rPr lang="ru-RU" sz="1600" b="1" dirty="0">
                <a:solidFill>
                  <a:srgbClr val="C00000"/>
                </a:solidFill>
                <a:latin typeface="Arial KK EK" pitchFamily="34" charset="0"/>
              </a:rPr>
              <a:t> 78 </a:t>
            </a:r>
            <a:r>
              <a:rPr lang="ru-RU" sz="1600" b="1" dirty="0" smtClean="0">
                <a:solidFill>
                  <a:srgbClr val="C00000"/>
                </a:solidFill>
                <a:latin typeface="Arial KK EK" pitchFamily="34" charset="0"/>
              </a:rPr>
              <a:t> 657  КТҮ </a:t>
            </a:r>
            <a:endParaRPr lang="ru-RU" sz="1600" b="1" dirty="0">
              <a:solidFill>
                <a:schemeClr val="tx1"/>
              </a:solidFill>
              <a:latin typeface="Arial KK EK" pitchFamily="34" charset="0"/>
            </a:endParaRPr>
          </a:p>
        </p:txBody>
      </p:sp>
      <p:sp>
        <p:nvSpPr>
          <p:cNvPr id="46" name="Нашивка 45"/>
          <p:cNvSpPr/>
          <p:nvPr/>
        </p:nvSpPr>
        <p:spPr>
          <a:xfrm>
            <a:off x="950542" y="4330563"/>
            <a:ext cx="5431208" cy="727212"/>
          </a:xfrm>
          <a:prstGeom prst="chevron">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600" b="1" dirty="0" smtClean="0">
                <a:solidFill>
                  <a:srgbClr val="C00000"/>
                </a:solidFill>
                <a:latin typeface="Arial KK EK" pitchFamily="34" charset="0"/>
              </a:rPr>
              <a:t>14  938  </a:t>
            </a:r>
            <a:r>
              <a:rPr lang="ru-RU" sz="1600" b="1" dirty="0" err="1" smtClean="0">
                <a:solidFill>
                  <a:srgbClr val="C00000"/>
                </a:solidFill>
                <a:latin typeface="Arial KK EK" pitchFamily="34" charset="0"/>
              </a:rPr>
              <a:t>басқару</a:t>
            </a:r>
            <a:r>
              <a:rPr lang="ru-RU" sz="1600" b="1" dirty="0" smtClean="0">
                <a:solidFill>
                  <a:srgbClr val="C00000"/>
                </a:solidFill>
                <a:latin typeface="Arial KK EK" pitchFamily="34" charset="0"/>
              </a:rPr>
              <a:t> </a:t>
            </a:r>
            <a:r>
              <a:rPr lang="ru-RU" sz="1600" b="1" dirty="0" err="1" smtClean="0">
                <a:solidFill>
                  <a:srgbClr val="C00000"/>
                </a:solidFill>
                <a:latin typeface="Arial KK EK" pitchFamily="34" charset="0"/>
              </a:rPr>
              <a:t>органдары</a:t>
            </a:r>
            <a:r>
              <a:rPr lang="ru-RU" sz="1600" b="1" dirty="0" smtClean="0">
                <a:solidFill>
                  <a:srgbClr val="C00000"/>
                </a:solidFill>
                <a:latin typeface="Arial KK EK" pitchFamily="34" charset="0"/>
              </a:rPr>
              <a:t> </a:t>
            </a:r>
            <a:r>
              <a:rPr lang="ru-RU" sz="1600" b="1" dirty="0" err="1">
                <a:solidFill>
                  <a:schemeClr val="tx1"/>
                </a:solidFill>
                <a:latin typeface="Arial KK EK" pitchFamily="34" charset="0"/>
              </a:rPr>
              <a:t>қалыптасқан</a:t>
            </a:r>
            <a:endParaRPr lang="ru-RU" sz="1600" b="1" dirty="0">
              <a:solidFill>
                <a:schemeClr val="tx1"/>
              </a:solidFill>
              <a:latin typeface="Arial KK EK" pitchFamily="34" charset="0"/>
            </a:endParaRPr>
          </a:p>
        </p:txBody>
      </p:sp>
    </p:spTree>
    <p:extLst>
      <p:ext uri="{BB962C8B-B14F-4D97-AF65-F5344CB8AC3E}">
        <p14:creationId xmlns:p14="http://schemas.microsoft.com/office/powerpoint/2010/main" val="20323673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4" name="Прямоугольник 13"/>
          <p:cNvSpPr/>
          <p:nvPr/>
        </p:nvSpPr>
        <p:spPr>
          <a:xfrm>
            <a:off x="0" y="3164619"/>
            <a:ext cx="9144000" cy="3693381"/>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 name="Прямоугольник 66"/>
          <p:cNvSpPr/>
          <p:nvPr/>
        </p:nvSpPr>
        <p:spPr>
          <a:xfrm>
            <a:off x="0" y="14184"/>
            <a:ext cx="9144000" cy="338554"/>
          </a:xfrm>
          <a:prstGeom prst="rect">
            <a:avLst/>
          </a:prstGeom>
          <a:solidFill>
            <a:srgbClr val="0070C0"/>
          </a:solidFill>
          <a:effectLst/>
        </p:spPr>
        <p:txBody>
          <a:bodyPr wrap="square" lIns="91440" tIns="45720" rIns="91440" bIns="45720">
            <a:spAutoFit/>
          </a:bodyPr>
          <a:lstStyle/>
          <a:p>
            <a:pPr algn="ctr"/>
            <a:r>
              <a:rPr lang="en-US" sz="1600" b="1" dirty="0" smtClean="0">
                <a:ln w="0"/>
                <a:solidFill>
                  <a:schemeClr val="bg1"/>
                </a:solidFill>
                <a:latin typeface="Arial Narrow" pitchFamily="34" charset="0"/>
              </a:rPr>
              <a:t>I – </a:t>
            </a:r>
            <a:r>
              <a:rPr lang="kk-KZ" sz="1600" b="1" dirty="0" smtClean="0">
                <a:ln w="0"/>
                <a:solidFill>
                  <a:schemeClr val="bg1"/>
                </a:solidFill>
                <a:latin typeface="Arial Narrow" pitchFamily="34" charset="0"/>
              </a:rPr>
              <a:t>ЗАҢ ЖОБАСЫНЫҢ НЕГІЗГІ ҰСЫНЫСЫ</a:t>
            </a:r>
            <a:endParaRPr lang="ru-RU" sz="1600" b="1" cap="none" spc="0" dirty="0">
              <a:ln w="0"/>
              <a:solidFill>
                <a:schemeClr val="bg1"/>
              </a:solidFill>
              <a:latin typeface="Arial Narrow" pitchFamily="34" charset="0"/>
            </a:endParaRPr>
          </a:p>
        </p:txBody>
      </p:sp>
      <p:sp>
        <p:nvSpPr>
          <p:cNvPr id="11" name="Номер слайда 8"/>
          <p:cNvSpPr>
            <a:spLocks noGrp="1"/>
          </p:cNvSpPr>
          <p:nvPr>
            <p:ph type="sldNum" sz="quarter" idx="12"/>
          </p:nvPr>
        </p:nvSpPr>
        <p:spPr>
          <a:xfrm>
            <a:off x="8666905" y="6425081"/>
            <a:ext cx="296848" cy="365125"/>
          </a:xfrm>
          <a:solidFill>
            <a:schemeClr val="accent1">
              <a:lumMod val="20000"/>
              <a:lumOff val="80000"/>
            </a:schemeClr>
          </a:solidFill>
          <a:effectLst/>
        </p:spPr>
        <p:txBody>
          <a:bodyPr/>
          <a:lstStyle/>
          <a:p>
            <a:fld id="{5B7F4A50-1F8C-475C-94C6-2D50DD7E8F1E}" type="slidenum">
              <a:rPr lang="en-US" smtClean="0">
                <a:solidFill>
                  <a:schemeClr val="tx1"/>
                </a:solidFill>
                <a:latin typeface="Arial Narrow" pitchFamily="34" charset="0"/>
              </a:rPr>
              <a:t>4</a:t>
            </a:fld>
            <a:endParaRPr lang="en-US" dirty="0">
              <a:solidFill>
                <a:schemeClr val="tx1"/>
              </a:solidFill>
              <a:latin typeface="Arial Narrow" pitchFamily="34" charset="0"/>
            </a:endParaRPr>
          </a:p>
        </p:txBody>
      </p:sp>
      <p:sp>
        <p:nvSpPr>
          <p:cNvPr id="13" name="Прямоугольник 12"/>
          <p:cNvSpPr/>
          <p:nvPr/>
        </p:nvSpPr>
        <p:spPr>
          <a:xfrm>
            <a:off x="333965" y="4440481"/>
            <a:ext cx="1193167" cy="857061"/>
          </a:xfrm>
          <a:prstGeom prst="rect">
            <a:avLst/>
          </a:prstGeom>
          <a:solidFill>
            <a:schemeClr val="bg1"/>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p:cNvSpPr/>
          <p:nvPr/>
        </p:nvSpPr>
        <p:spPr>
          <a:xfrm>
            <a:off x="580936" y="4628688"/>
            <a:ext cx="754888" cy="461665"/>
          </a:xfrm>
          <a:prstGeom prst="rect">
            <a:avLst/>
          </a:prstGeom>
        </p:spPr>
        <p:txBody>
          <a:bodyPr wrap="square">
            <a:spAutoFit/>
          </a:bodyPr>
          <a:lstStyle/>
          <a:p>
            <a:r>
              <a:rPr lang="ru-RU" sz="2400" b="1" dirty="0" smtClean="0">
                <a:solidFill>
                  <a:srgbClr val="FF0000"/>
                </a:solidFill>
                <a:latin typeface="Arial Narrow" pitchFamily="34" charset="0"/>
              </a:rPr>
              <a:t>МИБ</a:t>
            </a:r>
            <a:endParaRPr lang="ru-RU" sz="1200" dirty="0">
              <a:solidFill>
                <a:srgbClr val="002060"/>
              </a:solidFill>
              <a:latin typeface="Arial Narrow" pitchFamily="34" charset="0"/>
            </a:endParaRPr>
          </a:p>
        </p:txBody>
      </p:sp>
      <p:sp>
        <p:nvSpPr>
          <p:cNvPr id="16" name="Прямоугольник 15"/>
          <p:cNvSpPr/>
          <p:nvPr/>
        </p:nvSpPr>
        <p:spPr>
          <a:xfrm>
            <a:off x="1854476" y="3354840"/>
            <a:ext cx="5468685" cy="338554"/>
          </a:xfrm>
          <a:prstGeom prst="rect">
            <a:avLst/>
          </a:prstGeom>
        </p:spPr>
        <p:txBody>
          <a:bodyPr wrap="square">
            <a:spAutoFit/>
          </a:bodyPr>
          <a:lstStyle/>
          <a:p>
            <a:r>
              <a:rPr lang="ru-RU" sz="1600" b="1" i="1" dirty="0" smtClean="0">
                <a:latin typeface="Arial Narrow" pitchFamily="34" charset="0"/>
              </a:rPr>
              <a:t>ҚАҒИДА: </a:t>
            </a:r>
            <a:r>
              <a:rPr lang="ru-RU" sz="1600" b="1" i="1" dirty="0" smtClean="0">
                <a:solidFill>
                  <a:srgbClr val="FF0000"/>
                </a:solidFill>
                <a:latin typeface="Arial Narrow" pitchFamily="34" charset="0"/>
              </a:rPr>
              <a:t> </a:t>
            </a:r>
            <a:r>
              <a:rPr lang="ru-RU" sz="1600" b="1" i="1" dirty="0" smtClean="0">
                <a:solidFill>
                  <a:srgbClr val="002060"/>
                </a:solidFill>
                <a:latin typeface="Arial Narrow" pitchFamily="34" charset="0"/>
              </a:rPr>
              <a:t>«</a:t>
            </a:r>
            <a:r>
              <a:rPr lang="ru-RU" sz="1600" b="1" i="1" dirty="0" err="1" smtClean="0">
                <a:solidFill>
                  <a:srgbClr val="002060"/>
                </a:solidFill>
                <a:latin typeface="Arial Narrow" pitchFamily="34" charset="0"/>
              </a:rPr>
              <a:t>Бір</a:t>
            </a:r>
            <a:r>
              <a:rPr lang="ru-RU" sz="1600" b="1" i="1" dirty="0" smtClean="0">
                <a:solidFill>
                  <a:srgbClr val="002060"/>
                </a:solidFill>
                <a:latin typeface="Arial Narrow" pitchFamily="34" charset="0"/>
              </a:rPr>
              <a:t> </a:t>
            </a:r>
            <a:r>
              <a:rPr lang="ru-RU" sz="1600" b="1" i="1" dirty="0" err="1" smtClean="0">
                <a:solidFill>
                  <a:srgbClr val="002060"/>
                </a:solidFill>
                <a:latin typeface="Arial Narrow" pitchFamily="34" charset="0"/>
              </a:rPr>
              <a:t>үй</a:t>
            </a:r>
            <a:r>
              <a:rPr lang="ru-RU" sz="1600" b="1" i="1" dirty="0" smtClean="0">
                <a:solidFill>
                  <a:srgbClr val="002060"/>
                </a:solidFill>
                <a:latin typeface="Arial Narrow" pitchFamily="34" charset="0"/>
              </a:rPr>
              <a:t>  – </a:t>
            </a:r>
            <a:r>
              <a:rPr lang="ru-RU" sz="1600" b="1" i="1" dirty="0" err="1" smtClean="0">
                <a:solidFill>
                  <a:srgbClr val="002060"/>
                </a:solidFill>
                <a:latin typeface="Arial Narrow" pitchFamily="34" charset="0"/>
              </a:rPr>
              <a:t>Бір</a:t>
            </a:r>
            <a:r>
              <a:rPr lang="ru-RU" sz="1600" b="1" i="1" dirty="0" smtClean="0">
                <a:solidFill>
                  <a:srgbClr val="002060"/>
                </a:solidFill>
                <a:latin typeface="Arial Narrow" pitchFamily="34" charset="0"/>
              </a:rPr>
              <a:t> МИБ – </a:t>
            </a:r>
            <a:r>
              <a:rPr lang="ru-RU" sz="1600" b="1" i="1" dirty="0" err="1" smtClean="0">
                <a:solidFill>
                  <a:srgbClr val="002060"/>
                </a:solidFill>
                <a:latin typeface="Arial Narrow" pitchFamily="34" charset="0"/>
              </a:rPr>
              <a:t>Бір</a:t>
            </a:r>
            <a:r>
              <a:rPr lang="ru-RU" sz="1600" b="1" i="1" dirty="0" smtClean="0">
                <a:solidFill>
                  <a:srgbClr val="002060"/>
                </a:solidFill>
                <a:latin typeface="Arial Narrow" pitchFamily="34" charset="0"/>
              </a:rPr>
              <a:t> </a:t>
            </a:r>
            <a:r>
              <a:rPr lang="ru-RU" sz="1600" b="1" i="1" dirty="0" err="1" smtClean="0">
                <a:solidFill>
                  <a:srgbClr val="002060"/>
                </a:solidFill>
                <a:latin typeface="Arial Narrow" pitchFamily="34" charset="0"/>
              </a:rPr>
              <a:t>шот</a:t>
            </a:r>
            <a:r>
              <a:rPr lang="ru-RU" sz="1600" b="1" i="1" dirty="0" smtClean="0">
                <a:solidFill>
                  <a:srgbClr val="002060"/>
                </a:solidFill>
                <a:latin typeface="Arial Narrow" pitchFamily="34" charset="0"/>
              </a:rPr>
              <a:t>» </a:t>
            </a:r>
            <a:r>
              <a:rPr lang="ru-RU" sz="1600" dirty="0" smtClean="0">
                <a:solidFill>
                  <a:srgbClr val="002060"/>
                </a:solidFill>
                <a:latin typeface="Arial Narrow" pitchFamily="34" charset="0"/>
              </a:rPr>
              <a:t> </a:t>
            </a:r>
            <a:endParaRPr lang="ru-RU" sz="1200" dirty="0">
              <a:solidFill>
                <a:srgbClr val="002060"/>
              </a:solidFill>
              <a:latin typeface="Arial Narrow" pitchFamily="34" charset="0"/>
            </a:endParaRPr>
          </a:p>
        </p:txBody>
      </p:sp>
      <p:sp>
        <p:nvSpPr>
          <p:cNvPr id="17" name="Прямоугольник 16"/>
          <p:cNvSpPr/>
          <p:nvPr/>
        </p:nvSpPr>
        <p:spPr>
          <a:xfrm>
            <a:off x="1838573" y="3713987"/>
            <a:ext cx="7361086" cy="1077218"/>
          </a:xfrm>
          <a:prstGeom prst="rect">
            <a:avLst/>
          </a:prstGeom>
        </p:spPr>
        <p:txBody>
          <a:bodyPr wrap="square">
            <a:spAutoFit/>
          </a:bodyPr>
          <a:lstStyle/>
          <a:p>
            <a:r>
              <a:rPr lang="ru-RU" sz="1600" b="1" i="1" dirty="0" smtClean="0">
                <a:latin typeface="Arial Narrow" pitchFamily="34" charset="0"/>
              </a:rPr>
              <a:t>КӨЗДЕЛДІ:  </a:t>
            </a:r>
            <a:r>
              <a:rPr lang="ru-RU" sz="1600" b="1" dirty="0" smtClean="0">
                <a:solidFill>
                  <a:srgbClr val="002060"/>
                </a:solidFill>
                <a:latin typeface="Arial Narrow" pitchFamily="34" charset="0"/>
              </a:rPr>
              <a:t>6 ай </a:t>
            </a:r>
            <a:r>
              <a:rPr lang="ru-RU" sz="1600" b="1" dirty="0" err="1" smtClean="0">
                <a:solidFill>
                  <a:srgbClr val="002060"/>
                </a:solidFill>
                <a:latin typeface="Arial Narrow" pitchFamily="34" charset="0"/>
              </a:rPr>
              <a:t>ішінде</a:t>
            </a:r>
            <a:r>
              <a:rPr lang="ru-RU" sz="1600" b="1" dirty="0" smtClean="0">
                <a:solidFill>
                  <a:srgbClr val="002060"/>
                </a:solidFill>
                <a:latin typeface="Arial Narrow" pitchFamily="34" charset="0"/>
              </a:rPr>
              <a:t>  </a:t>
            </a:r>
          </a:p>
          <a:p>
            <a:pPr marL="285750" indent="-285750">
              <a:buFont typeface="Wingdings" pitchFamily="2" charset="2"/>
              <a:buChar char="Ø"/>
            </a:pPr>
            <a:r>
              <a:rPr lang="ru-RU" sz="1600" dirty="0">
                <a:solidFill>
                  <a:srgbClr val="002060"/>
                </a:solidFill>
                <a:latin typeface="Arial Narrow" pitchFamily="34" charset="0"/>
              </a:rPr>
              <a:t> </a:t>
            </a:r>
            <a:r>
              <a:rPr lang="ru-RU" sz="1600" dirty="0" err="1" smtClean="0">
                <a:solidFill>
                  <a:srgbClr val="002060"/>
                </a:solidFill>
                <a:latin typeface="Arial Narrow" pitchFamily="34" charset="0"/>
              </a:rPr>
              <a:t>басқару</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нысанын</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таңдау</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үшін</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жалпы</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жиналыс</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өткізу</a:t>
            </a:r>
            <a:r>
              <a:rPr lang="ru-RU" sz="1600" dirty="0" smtClean="0">
                <a:solidFill>
                  <a:srgbClr val="002060"/>
                </a:solidFill>
                <a:latin typeface="Arial Narrow" pitchFamily="34" charset="0"/>
              </a:rPr>
              <a:t> </a:t>
            </a:r>
            <a:endParaRPr lang="ru-RU" sz="1600" dirty="0">
              <a:solidFill>
                <a:srgbClr val="002060"/>
              </a:solidFill>
              <a:latin typeface="Arial Narrow" pitchFamily="34" charset="0"/>
            </a:endParaRPr>
          </a:p>
          <a:p>
            <a:pPr marL="285750" indent="-285750">
              <a:buFont typeface="Wingdings" pitchFamily="2" charset="2"/>
              <a:buChar char="Ø"/>
            </a:pP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әділет</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органдарында</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жарғылық</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құжаттардағы</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өзгерістердің</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мемлекеттік</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тіркеуін</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қамтамасыз</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ету</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немесе</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олардың</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қызметін</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тоқтату</a:t>
            </a:r>
            <a:r>
              <a:rPr lang="ru-RU" sz="1600" dirty="0" smtClean="0">
                <a:solidFill>
                  <a:srgbClr val="002060"/>
                </a:solidFill>
                <a:latin typeface="Arial Narrow" pitchFamily="34" charset="0"/>
              </a:rPr>
              <a:t> </a:t>
            </a:r>
            <a:r>
              <a:rPr lang="ru-RU" sz="1600" b="1" dirty="0" smtClean="0">
                <a:solidFill>
                  <a:srgbClr val="002060"/>
                </a:solidFill>
                <a:latin typeface="Arial Narrow" pitchFamily="34" charset="0"/>
              </a:rPr>
              <a:t>                                    </a:t>
            </a:r>
            <a:r>
              <a:rPr lang="ru-RU" sz="1600" dirty="0" smtClean="0">
                <a:solidFill>
                  <a:srgbClr val="002060"/>
                </a:solidFill>
                <a:latin typeface="Arial Narrow" pitchFamily="34" charset="0"/>
              </a:rPr>
              <a:t> </a:t>
            </a:r>
            <a:endParaRPr lang="ru-RU" sz="1600" dirty="0">
              <a:solidFill>
                <a:srgbClr val="002060"/>
              </a:solidFill>
              <a:latin typeface="Arial Narrow" pitchFamily="34" charset="0"/>
            </a:endParaRPr>
          </a:p>
        </p:txBody>
      </p:sp>
      <p:sp>
        <p:nvSpPr>
          <p:cNvPr id="20" name="Прямоугольник 19"/>
          <p:cNvSpPr/>
          <p:nvPr/>
        </p:nvSpPr>
        <p:spPr>
          <a:xfrm>
            <a:off x="1886280" y="4779655"/>
            <a:ext cx="7154353" cy="1477328"/>
          </a:xfrm>
          <a:prstGeom prst="rect">
            <a:avLst/>
          </a:prstGeom>
        </p:spPr>
        <p:txBody>
          <a:bodyPr wrap="square">
            <a:spAutoFit/>
          </a:bodyPr>
          <a:lstStyle/>
          <a:p>
            <a:r>
              <a:rPr lang="ru-RU" sz="1600" b="1" i="1" dirty="0" smtClean="0">
                <a:latin typeface="Arial Narrow" pitchFamily="34" charset="0"/>
              </a:rPr>
              <a:t>ТҰРҒЫН ЕМЕС ҮЙ-ЖАЙЛАР МЕНШІК ИЕЛЕНУШІЛЕРІНІҢ МІНДЕТТЕРІ:</a:t>
            </a:r>
          </a:p>
          <a:p>
            <a:pPr marL="285750" indent="-285750">
              <a:buFont typeface="Wingdings" pitchFamily="2" charset="2"/>
              <a:buChar char="Ø"/>
            </a:pPr>
            <a:r>
              <a:rPr lang="kk-KZ" sz="1600" dirty="0" smtClean="0">
                <a:solidFill>
                  <a:srgbClr val="002060"/>
                </a:solidFill>
                <a:latin typeface="Arial Narrow" pitchFamily="34" charset="0"/>
              </a:rPr>
              <a:t>Ортақ мүлікті күтіп ұстауға қатысты барлық ортақ шығындарға қатысу </a:t>
            </a:r>
            <a:endParaRPr lang="ru-RU" sz="1600" dirty="0" smtClean="0">
              <a:solidFill>
                <a:srgbClr val="002060"/>
              </a:solidFill>
              <a:latin typeface="Arial Narrow" pitchFamily="34" charset="0"/>
            </a:endParaRPr>
          </a:p>
          <a:p>
            <a:pPr marL="285750" indent="-285750">
              <a:buFont typeface="Wingdings" pitchFamily="2" charset="2"/>
              <a:buChar char="Ø"/>
            </a:pPr>
            <a:endParaRPr lang="ru-RU" sz="800" dirty="0" smtClean="0">
              <a:solidFill>
                <a:srgbClr val="002060"/>
              </a:solidFill>
              <a:latin typeface="Arial Narrow" pitchFamily="34" charset="0"/>
            </a:endParaRPr>
          </a:p>
          <a:p>
            <a:r>
              <a:rPr lang="ru-RU" sz="1600" b="1" i="1" dirty="0" smtClean="0">
                <a:latin typeface="Arial Narrow" pitchFamily="34" charset="0"/>
              </a:rPr>
              <a:t>ПӘТЕРЛЕР МЕНШІК ИЕЛЕРІНІҢ ҚҰҚ</a:t>
            </a:r>
            <a:r>
              <a:rPr lang="ru-RU" sz="1600" b="1" i="1" dirty="0">
                <a:latin typeface="Arial Narrow" pitchFamily="34" charset="0"/>
              </a:rPr>
              <a:t>Ы</a:t>
            </a:r>
            <a:r>
              <a:rPr lang="ru-RU" sz="1600" b="1" i="1" dirty="0" smtClean="0">
                <a:latin typeface="Arial Narrow" pitchFamily="34" charset="0"/>
              </a:rPr>
              <a:t>ҚТАРЫ:</a:t>
            </a:r>
          </a:p>
          <a:p>
            <a:pPr marL="285750" indent="-285750">
              <a:buFont typeface="Wingdings" pitchFamily="2" charset="2"/>
              <a:buChar char="Ø"/>
            </a:pPr>
            <a:r>
              <a:rPr lang="ru-RU" sz="1600" b="1" i="1" dirty="0" smtClean="0">
                <a:solidFill>
                  <a:srgbClr val="002060"/>
                </a:solidFill>
                <a:latin typeface="Arial Narrow" pitchFamily="34" charset="0"/>
              </a:rPr>
              <a:t> </a:t>
            </a:r>
            <a:r>
              <a:rPr lang="ru-RU" sz="1600" dirty="0" err="1" smtClean="0">
                <a:solidFill>
                  <a:srgbClr val="002060"/>
                </a:solidFill>
                <a:latin typeface="Arial Narrow" pitchFamily="34" charset="0"/>
              </a:rPr>
              <a:t>тұрғын</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емес</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үй-жайлардың</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меншік</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иелеріне</a:t>
            </a:r>
            <a:r>
              <a:rPr lang="ru-RU" sz="1600" dirty="0" smtClean="0">
                <a:solidFill>
                  <a:srgbClr val="002060"/>
                </a:solidFill>
                <a:latin typeface="Arial Narrow" pitchFamily="34" charset="0"/>
              </a:rPr>
              <a:t> ай </a:t>
            </a:r>
            <a:r>
              <a:rPr lang="ru-RU" sz="1600" dirty="0" err="1" smtClean="0">
                <a:solidFill>
                  <a:srgbClr val="002060"/>
                </a:solidFill>
                <a:latin typeface="Arial Narrow" pitchFamily="34" charset="0"/>
              </a:rPr>
              <a:t>сайынғы</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міндетті</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төлемдерді</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ұлғайту</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бірақ</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айырмасы</a:t>
            </a:r>
            <a:r>
              <a:rPr lang="ru-RU" sz="1600" dirty="0" smtClean="0">
                <a:solidFill>
                  <a:srgbClr val="002060"/>
                </a:solidFill>
                <a:latin typeface="Arial Narrow" pitchFamily="34" charset="0"/>
              </a:rPr>
              <a:t> 100%</a:t>
            </a:r>
            <a:r>
              <a:rPr lang="kk-KZ" sz="1600" dirty="0" smtClean="0">
                <a:solidFill>
                  <a:srgbClr val="002060"/>
                </a:solidFill>
                <a:latin typeface="Arial Narrow" pitchFamily="34" charset="0"/>
              </a:rPr>
              <a:t>-дан аспауы керек</a:t>
            </a:r>
            <a:endParaRPr lang="ru-RU" sz="1600" b="1" i="1" dirty="0">
              <a:solidFill>
                <a:srgbClr val="002060"/>
              </a:solidFill>
              <a:latin typeface="Arial Narrow" pitchFamily="34" charset="0"/>
            </a:endParaRPr>
          </a:p>
        </p:txBody>
      </p:sp>
      <p:sp>
        <p:nvSpPr>
          <p:cNvPr id="21" name="Скругленный прямоугольник 20"/>
          <p:cNvSpPr/>
          <p:nvPr/>
        </p:nvSpPr>
        <p:spPr>
          <a:xfrm>
            <a:off x="310106" y="877860"/>
            <a:ext cx="4126727" cy="2150348"/>
          </a:xfrm>
          <a:prstGeom prst="roundRect">
            <a:avLst/>
          </a:prstGeom>
          <a:solidFill>
            <a:schemeClr val="bg1"/>
          </a:solid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Скругленный прямоугольник 22"/>
          <p:cNvSpPr/>
          <p:nvPr/>
        </p:nvSpPr>
        <p:spPr>
          <a:xfrm>
            <a:off x="4738332" y="883940"/>
            <a:ext cx="4110815" cy="2150348"/>
          </a:xfrm>
          <a:prstGeom prst="roundRect">
            <a:avLst/>
          </a:prstGeom>
          <a:solidFill>
            <a:schemeClr val="bg1"/>
          </a:solid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Скругленный прямоугольник 23"/>
          <p:cNvSpPr/>
          <p:nvPr/>
        </p:nvSpPr>
        <p:spPr>
          <a:xfrm>
            <a:off x="310107" y="488247"/>
            <a:ext cx="4124350" cy="3896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Скругленный прямоугольник 25"/>
          <p:cNvSpPr/>
          <p:nvPr/>
        </p:nvSpPr>
        <p:spPr>
          <a:xfrm>
            <a:off x="4731027" y="486922"/>
            <a:ext cx="4118120" cy="3896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Прямоугольник 26"/>
          <p:cNvSpPr/>
          <p:nvPr/>
        </p:nvSpPr>
        <p:spPr>
          <a:xfrm>
            <a:off x="714842" y="541039"/>
            <a:ext cx="3095193" cy="338554"/>
          </a:xfrm>
          <a:prstGeom prst="rect">
            <a:avLst/>
          </a:prstGeom>
        </p:spPr>
        <p:txBody>
          <a:bodyPr wrap="square">
            <a:spAutoFit/>
          </a:bodyPr>
          <a:lstStyle/>
          <a:p>
            <a:pPr algn="ctr"/>
            <a:r>
              <a:rPr lang="ru-RU" sz="1600" b="1" i="1" dirty="0" smtClean="0">
                <a:solidFill>
                  <a:schemeClr val="bg1"/>
                </a:solidFill>
                <a:latin typeface="Arial Narrow" pitchFamily="34" charset="0"/>
              </a:rPr>
              <a:t>ПИК</a:t>
            </a:r>
            <a:endParaRPr lang="ru-RU" sz="1600" b="1" dirty="0">
              <a:solidFill>
                <a:schemeClr val="bg1"/>
              </a:solidFill>
              <a:latin typeface="Arial Narrow" pitchFamily="34" charset="0"/>
            </a:endParaRPr>
          </a:p>
        </p:txBody>
      </p:sp>
      <p:sp>
        <p:nvSpPr>
          <p:cNvPr id="28" name="Прямоугольник 27"/>
          <p:cNvSpPr/>
          <p:nvPr/>
        </p:nvSpPr>
        <p:spPr>
          <a:xfrm>
            <a:off x="5359568" y="541201"/>
            <a:ext cx="3095193" cy="338554"/>
          </a:xfrm>
          <a:prstGeom prst="rect">
            <a:avLst/>
          </a:prstGeom>
        </p:spPr>
        <p:txBody>
          <a:bodyPr wrap="square">
            <a:spAutoFit/>
          </a:bodyPr>
          <a:lstStyle/>
          <a:p>
            <a:pPr algn="ctr"/>
            <a:r>
              <a:rPr lang="ru-RU" sz="1600" b="1" i="1" dirty="0" err="1" smtClean="0">
                <a:solidFill>
                  <a:schemeClr val="bg1"/>
                </a:solidFill>
                <a:latin typeface="Arial Narrow" pitchFamily="34" charset="0"/>
              </a:rPr>
              <a:t>Меншік</a:t>
            </a:r>
            <a:r>
              <a:rPr lang="ru-RU" sz="1600" b="1" i="1" dirty="0" smtClean="0">
                <a:solidFill>
                  <a:schemeClr val="bg1"/>
                </a:solidFill>
                <a:latin typeface="Arial Narrow" pitchFamily="34" charset="0"/>
              </a:rPr>
              <a:t> </a:t>
            </a:r>
            <a:r>
              <a:rPr lang="ru-RU" sz="1600" b="1" i="1" dirty="0" err="1" smtClean="0">
                <a:solidFill>
                  <a:schemeClr val="bg1"/>
                </a:solidFill>
                <a:latin typeface="Arial Narrow" pitchFamily="34" charset="0"/>
              </a:rPr>
              <a:t>иелері</a:t>
            </a:r>
            <a:endParaRPr lang="ru-RU" sz="1600" b="1" dirty="0">
              <a:solidFill>
                <a:schemeClr val="bg1"/>
              </a:solidFill>
              <a:latin typeface="Arial Narrow" pitchFamily="34" charset="0"/>
            </a:endParaRPr>
          </a:p>
        </p:txBody>
      </p:sp>
      <p:grpSp>
        <p:nvGrpSpPr>
          <p:cNvPr id="30" name="Группа 29"/>
          <p:cNvGrpSpPr/>
          <p:nvPr/>
        </p:nvGrpSpPr>
        <p:grpSpPr>
          <a:xfrm>
            <a:off x="565034" y="1779544"/>
            <a:ext cx="367806" cy="295530"/>
            <a:chOff x="123140" y="2488758"/>
            <a:chExt cx="333709" cy="294198"/>
          </a:xfrm>
        </p:grpSpPr>
        <p:sp>
          <p:nvSpPr>
            <p:cNvPr id="25" name="Прямоугольник 24"/>
            <p:cNvSpPr/>
            <p:nvPr/>
          </p:nvSpPr>
          <p:spPr>
            <a:xfrm>
              <a:off x="123140" y="2488758"/>
              <a:ext cx="333709" cy="294198"/>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Прямоугольник 28"/>
            <p:cNvSpPr/>
            <p:nvPr/>
          </p:nvSpPr>
          <p:spPr>
            <a:xfrm>
              <a:off x="210484" y="2604053"/>
              <a:ext cx="166855"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32" name="Прямоугольник 31"/>
          <p:cNvSpPr/>
          <p:nvPr/>
        </p:nvSpPr>
        <p:spPr>
          <a:xfrm>
            <a:off x="970725" y="1004659"/>
            <a:ext cx="3439981" cy="2169825"/>
          </a:xfrm>
          <a:prstGeom prst="rect">
            <a:avLst/>
          </a:prstGeom>
        </p:spPr>
        <p:txBody>
          <a:bodyPr wrap="square">
            <a:spAutoFit/>
          </a:bodyPr>
          <a:lstStyle/>
          <a:p>
            <a:pPr marL="285750" indent="-285750">
              <a:buFontTx/>
              <a:buChar char="-"/>
            </a:pPr>
            <a:r>
              <a:rPr lang="ru-RU" b="1" i="1" dirty="0" err="1" smtClean="0">
                <a:solidFill>
                  <a:srgbClr val="002060"/>
                </a:solidFill>
                <a:latin typeface="Arial Narrow" pitchFamily="34" charset="0"/>
              </a:rPr>
              <a:t>жұмыста</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ашықтықтың</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жоқтығы</a:t>
            </a:r>
            <a:endParaRPr lang="ru-RU" b="1" i="1" dirty="0" smtClean="0">
              <a:solidFill>
                <a:srgbClr val="002060"/>
              </a:solidFill>
              <a:latin typeface="Arial Narrow" pitchFamily="34" charset="0"/>
            </a:endParaRPr>
          </a:p>
          <a:p>
            <a:pPr marL="285750" indent="-285750">
              <a:buFontTx/>
              <a:buChar char="-"/>
            </a:pPr>
            <a:endParaRPr lang="ru-RU" sz="900" b="1" i="1" dirty="0" smtClean="0">
              <a:solidFill>
                <a:srgbClr val="002060"/>
              </a:solidFill>
              <a:latin typeface="Arial Narrow" pitchFamily="34" charset="0"/>
            </a:endParaRPr>
          </a:p>
          <a:p>
            <a:pPr marL="285750" indent="-285750">
              <a:buFontTx/>
              <a:buChar char="-"/>
            </a:pPr>
            <a:r>
              <a:rPr lang="kk-KZ" b="1" i="1" dirty="0">
                <a:solidFill>
                  <a:srgbClr val="002060"/>
                </a:solidFill>
                <a:latin typeface="Arial Narrow" pitchFamily="34" charset="0"/>
              </a:rPr>
              <a:t>қ</a:t>
            </a:r>
            <a:r>
              <a:rPr lang="kk-KZ" b="1" i="1" dirty="0" smtClean="0">
                <a:solidFill>
                  <a:srgbClr val="002060"/>
                </a:solidFill>
                <a:latin typeface="Arial Narrow" pitchFamily="34" charset="0"/>
              </a:rPr>
              <a:t>аражатты жинау мен жұмсауда  </a:t>
            </a:r>
            <a:r>
              <a:rPr lang="ru-RU" b="1" i="1" dirty="0" err="1" smtClean="0">
                <a:solidFill>
                  <a:srgbClr val="002060"/>
                </a:solidFill>
                <a:latin typeface="Arial Narrow" pitchFamily="34" charset="0"/>
              </a:rPr>
              <a:t>айқындылықтың</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қамтамасыз</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етілмеуі</a:t>
            </a:r>
            <a:r>
              <a:rPr lang="ru-RU" b="1" i="1" dirty="0" smtClean="0">
                <a:solidFill>
                  <a:srgbClr val="002060"/>
                </a:solidFill>
                <a:latin typeface="Arial Narrow" pitchFamily="34" charset="0"/>
              </a:rPr>
              <a:t> </a:t>
            </a:r>
          </a:p>
          <a:p>
            <a:pPr marL="285750" indent="-285750">
              <a:buFontTx/>
              <a:buChar char="-"/>
            </a:pPr>
            <a:r>
              <a:rPr lang="kk-KZ" b="1" i="1" dirty="0">
                <a:solidFill>
                  <a:srgbClr val="002060"/>
                </a:solidFill>
                <a:latin typeface="Arial Narrow" pitchFamily="34" charset="0"/>
              </a:rPr>
              <a:t>т</a:t>
            </a:r>
            <a:r>
              <a:rPr lang="kk-KZ" b="1" i="1" dirty="0" smtClean="0">
                <a:solidFill>
                  <a:srgbClr val="002060"/>
                </a:solidFill>
                <a:latin typeface="Arial Narrow" pitchFamily="34" charset="0"/>
              </a:rPr>
              <a:t>ұрғындар алдында міндеттерін орындамауы</a:t>
            </a:r>
          </a:p>
          <a:p>
            <a:pPr marL="285750" indent="-285750">
              <a:buFontTx/>
              <a:buChar char="-"/>
            </a:pPr>
            <a:r>
              <a:rPr lang="kk-KZ" b="1" i="1" dirty="0" smtClean="0">
                <a:solidFill>
                  <a:srgbClr val="002060"/>
                </a:solidFill>
                <a:latin typeface="Arial Narrow" pitchFamily="34" charset="0"/>
              </a:rPr>
              <a:t>КТҮ ортақ  мүлкін басып алу және сату (жалға беру)</a:t>
            </a:r>
            <a:endParaRPr lang="ru-RU" b="1" i="1" dirty="0" smtClean="0">
              <a:solidFill>
                <a:srgbClr val="002060"/>
              </a:solidFill>
              <a:latin typeface="Arial Narrow" pitchFamily="34" charset="0"/>
            </a:endParaRPr>
          </a:p>
          <a:p>
            <a:pPr marL="285750" indent="-285750">
              <a:buFontTx/>
              <a:buChar char="-"/>
            </a:pPr>
            <a:endParaRPr lang="ru-RU" b="1" dirty="0">
              <a:solidFill>
                <a:srgbClr val="002060"/>
              </a:solidFill>
              <a:latin typeface="Arial Narrow" pitchFamily="34" charset="0"/>
            </a:endParaRPr>
          </a:p>
        </p:txBody>
      </p:sp>
      <p:grpSp>
        <p:nvGrpSpPr>
          <p:cNvPr id="33" name="Группа 32"/>
          <p:cNvGrpSpPr/>
          <p:nvPr/>
        </p:nvGrpSpPr>
        <p:grpSpPr>
          <a:xfrm>
            <a:off x="4970610" y="1745251"/>
            <a:ext cx="333709" cy="294198"/>
            <a:chOff x="123140" y="2488758"/>
            <a:chExt cx="333709" cy="294198"/>
          </a:xfrm>
        </p:grpSpPr>
        <p:sp>
          <p:nvSpPr>
            <p:cNvPr id="34" name="Прямоугольник 33"/>
            <p:cNvSpPr/>
            <p:nvPr/>
          </p:nvSpPr>
          <p:spPr>
            <a:xfrm>
              <a:off x="123140" y="2488758"/>
              <a:ext cx="333709" cy="294198"/>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Прямоугольник 34"/>
            <p:cNvSpPr/>
            <p:nvPr/>
          </p:nvSpPr>
          <p:spPr>
            <a:xfrm>
              <a:off x="210484" y="2604053"/>
              <a:ext cx="166855"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36" name="Прямоугольник 35"/>
          <p:cNvSpPr/>
          <p:nvPr/>
        </p:nvSpPr>
        <p:spPr>
          <a:xfrm>
            <a:off x="5382615" y="1229974"/>
            <a:ext cx="3201277" cy="1384995"/>
          </a:xfrm>
          <a:prstGeom prst="rect">
            <a:avLst/>
          </a:prstGeom>
        </p:spPr>
        <p:txBody>
          <a:bodyPr wrap="square">
            <a:spAutoFit/>
          </a:bodyPr>
          <a:lstStyle/>
          <a:p>
            <a:pPr marL="285750" indent="-285750">
              <a:buFontTx/>
              <a:buChar char="-"/>
            </a:pPr>
            <a:r>
              <a:rPr lang="ru-RU" b="1" i="1" dirty="0" err="1" smtClean="0">
                <a:solidFill>
                  <a:srgbClr val="002060"/>
                </a:solidFill>
                <a:latin typeface="Arial Narrow" pitchFamily="34" charset="0"/>
              </a:rPr>
              <a:t>басқару</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органдарына</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сенімнің</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төмендеуі</a:t>
            </a:r>
            <a:endParaRPr lang="ru-RU" sz="800" b="1" i="1" dirty="0" smtClean="0">
              <a:solidFill>
                <a:srgbClr val="002060"/>
              </a:solidFill>
              <a:latin typeface="Arial Narrow" pitchFamily="34" charset="0"/>
            </a:endParaRPr>
          </a:p>
          <a:p>
            <a:pPr marL="285750" indent="-285750">
              <a:buFontTx/>
              <a:buChar char="-"/>
            </a:pPr>
            <a:r>
              <a:rPr lang="ru-RU" b="1" i="1" dirty="0" err="1" smtClean="0">
                <a:solidFill>
                  <a:srgbClr val="002060"/>
                </a:solidFill>
                <a:latin typeface="Arial Narrow" pitchFamily="34" charset="0"/>
              </a:rPr>
              <a:t>күрделі</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жөндеуге</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қаражат</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жинауға</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құлқының</a:t>
            </a:r>
            <a:r>
              <a:rPr lang="ru-RU" b="1" i="1" dirty="0" smtClean="0">
                <a:solidFill>
                  <a:srgbClr val="002060"/>
                </a:solidFill>
                <a:latin typeface="Arial Narrow" pitchFamily="34" charset="0"/>
              </a:rPr>
              <a:t> </a:t>
            </a:r>
            <a:r>
              <a:rPr lang="ru-RU" b="1" i="1" dirty="0" err="1" smtClean="0">
                <a:solidFill>
                  <a:srgbClr val="002060"/>
                </a:solidFill>
                <a:latin typeface="Arial Narrow" pitchFamily="34" charset="0"/>
              </a:rPr>
              <a:t>болмауы</a:t>
            </a:r>
            <a:endParaRPr lang="ru-RU" b="1" i="1" dirty="0" smtClean="0">
              <a:solidFill>
                <a:srgbClr val="002060"/>
              </a:solidFill>
              <a:latin typeface="Arial Narrow" pitchFamily="34" charset="0"/>
            </a:endParaRPr>
          </a:p>
          <a:p>
            <a:pPr marL="285750" indent="-285750">
              <a:buFontTx/>
              <a:buChar char="-"/>
            </a:pPr>
            <a:r>
              <a:rPr lang="kk-KZ" b="1" i="1" dirty="0" smtClean="0">
                <a:solidFill>
                  <a:srgbClr val="002060"/>
                </a:solidFill>
                <a:latin typeface="Arial Narrow" pitchFamily="34" charset="0"/>
              </a:rPr>
              <a:t>КТҮ қызме көрсету сапасына қанағаттанбауы</a:t>
            </a:r>
            <a:endParaRPr lang="ru-RU" b="1" dirty="0">
              <a:solidFill>
                <a:srgbClr val="002060"/>
              </a:solidFill>
              <a:latin typeface="Arial Narrow" pitchFamily="34" charset="0"/>
            </a:endParaRPr>
          </a:p>
        </p:txBody>
      </p:sp>
    </p:spTree>
    <p:extLst>
      <p:ext uri="{BB962C8B-B14F-4D97-AF65-F5344CB8AC3E}">
        <p14:creationId xmlns:p14="http://schemas.microsoft.com/office/powerpoint/2010/main" val="41450511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1" name="Номер слайда 8"/>
          <p:cNvSpPr>
            <a:spLocks noGrp="1"/>
          </p:cNvSpPr>
          <p:nvPr>
            <p:ph type="sldNum" sz="quarter" idx="12"/>
          </p:nvPr>
        </p:nvSpPr>
        <p:spPr>
          <a:xfrm>
            <a:off x="8746415" y="6464836"/>
            <a:ext cx="296848" cy="365125"/>
          </a:xfrm>
          <a:solidFill>
            <a:schemeClr val="bg1"/>
          </a:solidFill>
          <a:effectLst/>
        </p:spPr>
        <p:txBody>
          <a:bodyPr/>
          <a:lstStyle/>
          <a:p>
            <a:fld id="{5B7F4A50-1F8C-475C-94C6-2D50DD7E8F1E}" type="slidenum">
              <a:rPr lang="en-US" smtClean="0">
                <a:solidFill>
                  <a:schemeClr val="tx1"/>
                </a:solidFill>
                <a:latin typeface="Arial Narrow" pitchFamily="34" charset="0"/>
              </a:rPr>
              <a:t>5</a:t>
            </a:fld>
            <a:endParaRPr lang="en-US" dirty="0">
              <a:solidFill>
                <a:schemeClr val="tx1"/>
              </a:solidFill>
              <a:latin typeface="Arial Narrow" pitchFamily="34" charset="0"/>
            </a:endParaRPr>
          </a:p>
        </p:txBody>
      </p:sp>
      <p:sp>
        <p:nvSpPr>
          <p:cNvPr id="50" name="Прямоугольник 49"/>
          <p:cNvSpPr/>
          <p:nvPr/>
        </p:nvSpPr>
        <p:spPr>
          <a:xfrm>
            <a:off x="248" y="1492861"/>
            <a:ext cx="9135801" cy="3635729"/>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p:nvSpPr>
        <p:spPr>
          <a:xfrm>
            <a:off x="202107" y="478393"/>
            <a:ext cx="8711304" cy="895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44" name="Нашивка 43"/>
          <p:cNvSpPr/>
          <p:nvPr/>
        </p:nvSpPr>
        <p:spPr>
          <a:xfrm>
            <a:off x="1539615" y="2752090"/>
            <a:ext cx="3135776" cy="791887"/>
          </a:xfrm>
          <a:prstGeom prst="chevron">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b="1" dirty="0">
              <a:solidFill>
                <a:schemeClr val="tx1"/>
              </a:solidFill>
              <a:latin typeface="Arial Narrow" panose="020B0606020202030204" pitchFamily="34" charset="0"/>
            </a:endParaRPr>
          </a:p>
        </p:txBody>
      </p:sp>
      <p:sp>
        <p:nvSpPr>
          <p:cNvPr id="67" name="Прямоугольник 66"/>
          <p:cNvSpPr/>
          <p:nvPr/>
        </p:nvSpPr>
        <p:spPr>
          <a:xfrm>
            <a:off x="0" y="14184"/>
            <a:ext cx="9144000" cy="369332"/>
          </a:xfrm>
          <a:prstGeom prst="rect">
            <a:avLst/>
          </a:prstGeom>
          <a:solidFill>
            <a:srgbClr val="0070C0"/>
          </a:solidFill>
          <a:effectLst/>
        </p:spPr>
        <p:txBody>
          <a:bodyPr wrap="square" lIns="91440" tIns="45720" rIns="91440" bIns="45720">
            <a:spAutoFit/>
          </a:bodyPr>
          <a:lstStyle/>
          <a:p>
            <a:pPr algn="ctr"/>
            <a:r>
              <a:rPr lang="kk-KZ" sz="1600" b="1" dirty="0" smtClean="0">
                <a:ln w="0"/>
                <a:solidFill>
                  <a:schemeClr val="bg1"/>
                </a:solidFill>
                <a:latin typeface="Arial Narrow" pitchFamily="34" charset="0"/>
              </a:rPr>
              <a:t>ЗА</a:t>
            </a:r>
            <a:r>
              <a:rPr lang="kk-KZ" sz="1800" b="1" dirty="0" smtClean="0">
                <a:ln w="0"/>
                <a:solidFill>
                  <a:schemeClr val="bg1"/>
                </a:solidFill>
                <a:latin typeface="Arial Narrow" pitchFamily="34" charset="0"/>
              </a:rPr>
              <a:t>Ң </a:t>
            </a:r>
            <a:r>
              <a:rPr lang="kk-KZ" sz="1600" b="1" dirty="0">
                <a:ln w="0"/>
                <a:solidFill>
                  <a:schemeClr val="bg1"/>
                </a:solidFill>
                <a:latin typeface="Arial Narrow" pitchFamily="34" charset="0"/>
              </a:rPr>
              <a:t>ЖОБАСЫНЫҢ НЕГІЗГІ ҰСЫНЫСЫ</a:t>
            </a:r>
            <a:endParaRPr lang="ru-RU" sz="1600" b="1" dirty="0">
              <a:ln w="0"/>
              <a:solidFill>
                <a:schemeClr val="bg1"/>
              </a:solidFill>
              <a:latin typeface="Arial Narrow" pitchFamily="34" charset="0"/>
            </a:endParaRPr>
          </a:p>
        </p:txBody>
      </p:sp>
      <p:sp>
        <p:nvSpPr>
          <p:cNvPr id="38" name="Прямоугольник 37"/>
          <p:cNvSpPr/>
          <p:nvPr/>
        </p:nvSpPr>
        <p:spPr>
          <a:xfrm>
            <a:off x="239030" y="517867"/>
            <a:ext cx="8809554" cy="861774"/>
          </a:xfrm>
          <a:prstGeom prst="rect">
            <a:avLst/>
          </a:prstGeom>
        </p:spPr>
        <p:txBody>
          <a:bodyPr wrap="square">
            <a:spAutoFit/>
          </a:bodyPr>
          <a:lstStyle/>
          <a:p>
            <a:pPr>
              <a:lnSpc>
                <a:spcPts val="2000"/>
              </a:lnSpc>
            </a:pPr>
            <a:r>
              <a:rPr lang="kk-KZ" sz="1600" b="1" dirty="0" smtClean="0">
                <a:solidFill>
                  <a:srgbClr val="FF0000"/>
                </a:solidFill>
                <a:latin typeface="Arial Narrow" panose="020B0606020202030204" pitchFamily="34" charset="0"/>
              </a:rPr>
              <a:t>ҚҰРЫЛЫС САЛУШЫСЫ </a:t>
            </a:r>
            <a:r>
              <a:rPr lang="kk-KZ" sz="1600" dirty="0" smtClean="0">
                <a:solidFill>
                  <a:srgbClr val="002060"/>
                </a:solidFill>
                <a:latin typeface="Arial Narrow" panose="020B0606020202030204" pitchFamily="34" charset="0"/>
              </a:rPr>
              <a:t>пәтерлерді </a:t>
            </a:r>
            <a:r>
              <a:rPr lang="kk-KZ" sz="1600" dirty="0">
                <a:solidFill>
                  <a:srgbClr val="002060"/>
                </a:solidFill>
                <a:latin typeface="Arial Narrow" panose="020B0606020202030204" pitchFamily="34" charset="0"/>
              </a:rPr>
              <a:t>сатуды бастағанға дейін осы үйді бастапқы объект ретінде және </a:t>
            </a:r>
            <a:r>
              <a:rPr lang="kk-KZ" sz="1600" dirty="0" smtClean="0">
                <a:solidFill>
                  <a:srgbClr val="002060"/>
                </a:solidFill>
                <a:latin typeface="Arial Narrow" panose="020B0606020202030204" pitchFamily="34" charset="0"/>
              </a:rPr>
              <a:t>                                                                                                                    			 барлық </a:t>
            </a:r>
            <a:r>
              <a:rPr lang="kk-KZ" sz="1600" dirty="0">
                <a:solidFill>
                  <a:srgbClr val="002060"/>
                </a:solidFill>
                <a:latin typeface="Arial Narrow" panose="020B0606020202030204" pitchFamily="34" charset="0"/>
              </a:rPr>
              <a:t>пәтерлер мен тұрғын емес үй-жайларды екінші объектілер ретінде тіркеуді </a:t>
            </a:r>
            <a:r>
              <a:rPr lang="kk-KZ" sz="1600" dirty="0" smtClean="0">
                <a:solidFill>
                  <a:srgbClr val="002060"/>
                </a:solidFill>
                <a:latin typeface="Arial Narrow" panose="020B0606020202030204" pitchFamily="34" charset="0"/>
              </a:rPr>
              <a:t>	                               қамтамасыз </a:t>
            </a:r>
            <a:r>
              <a:rPr lang="kk-KZ" sz="1600" dirty="0">
                <a:solidFill>
                  <a:srgbClr val="002060"/>
                </a:solidFill>
                <a:latin typeface="Arial Narrow" panose="020B0606020202030204" pitchFamily="34" charset="0"/>
              </a:rPr>
              <a:t>етуге </a:t>
            </a:r>
            <a:r>
              <a:rPr lang="kk-KZ" sz="1600" dirty="0" smtClean="0">
                <a:solidFill>
                  <a:srgbClr val="002060"/>
                </a:solidFill>
                <a:latin typeface="Arial Narrow" panose="020B0606020202030204" pitchFamily="34" charset="0"/>
              </a:rPr>
              <a:t>міндетті.</a:t>
            </a:r>
            <a:endParaRPr lang="ru-RU" sz="1600" dirty="0">
              <a:solidFill>
                <a:srgbClr val="002060"/>
              </a:solidFill>
              <a:latin typeface="Arial Narrow" panose="020B0606020202030204" pitchFamily="34" charset="0"/>
            </a:endParaRPr>
          </a:p>
        </p:txBody>
      </p:sp>
      <p:sp>
        <p:nvSpPr>
          <p:cNvPr id="39" name="Прямоугольник 38"/>
          <p:cNvSpPr/>
          <p:nvPr/>
        </p:nvSpPr>
        <p:spPr>
          <a:xfrm>
            <a:off x="79528" y="2814980"/>
            <a:ext cx="1447122" cy="604734"/>
          </a:xfrm>
          <a:prstGeom prst="rect">
            <a:avLst/>
          </a:prstGeom>
          <a:solidFill>
            <a:schemeClr val="bg1"/>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p:nvSpPr>
        <p:spPr>
          <a:xfrm>
            <a:off x="87961" y="2834939"/>
            <a:ext cx="1462545" cy="584775"/>
          </a:xfrm>
          <a:prstGeom prst="rect">
            <a:avLst/>
          </a:prstGeom>
        </p:spPr>
        <p:txBody>
          <a:bodyPr wrap="square">
            <a:spAutoFit/>
          </a:bodyPr>
          <a:lstStyle/>
          <a:p>
            <a:pPr algn="ctr"/>
            <a:r>
              <a:rPr lang="ru-RU" sz="1600" b="1" dirty="0" smtClean="0">
                <a:solidFill>
                  <a:srgbClr val="FF0000"/>
                </a:solidFill>
                <a:latin typeface="Arial Narrow" pitchFamily="34" charset="0"/>
              </a:rPr>
              <a:t>МИБ </a:t>
            </a:r>
            <a:r>
              <a:rPr lang="ru-RU" sz="1600" b="1" dirty="0" err="1" smtClean="0">
                <a:solidFill>
                  <a:srgbClr val="FF0000"/>
                </a:solidFill>
                <a:latin typeface="Arial Narrow" pitchFamily="34" charset="0"/>
              </a:rPr>
              <a:t>бірінші</a:t>
            </a:r>
            <a:r>
              <a:rPr lang="ru-RU" sz="1600" b="1" dirty="0" smtClean="0">
                <a:solidFill>
                  <a:srgbClr val="FF0000"/>
                </a:solidFill>
                <a:latin typeface="Arial Narrow" pitchFamily="34" charset="0"/>
              </a:rPr>
              <a:t> </a:t>
            </a:r>
            <a:r>
              <a:rPr lang="ru-RU" sz="1600" b="1" dirty="0" err="1" smtClean="0">
                <a:solidFill>
                  <a:srgbClr val="FF0000"/>
                </a:solidFill>
                <a:latin typeface="Arial Narrow" pitchFamily="34" charset="0"/>
              </a:rPr>
              <a:t>жиналысы</a:t>
            </a:r>
            <a:endParaRPr lang="ru-RU" sz="1600" dirty="0">
              <a:solidFill>
                <a:srgbClr val="002060"/>
              </a:solidFill>
              <a:latin typeface="Arial Narrow" pitchFamily="34" charset="0"/>
            </a:endParaRPr>
          </a:p>
        </p:txBody>
      </p:sp>
      <p:sp>
        <p:nvSpPr>
          <p:cNvPr id="51" name="Прямоугольник 50"/>
          <p:cNvSpPr/>
          <p:nvPr/>
        </p:nvSpPr>
        <p:spPr>
          <a:xfrm>
            <a:off x="202107" y="5255724"/>
            <a:ext cx="8711304" cy="1463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2" name="Прямоугольник 51"/>
          <p:cNvSpPr/>
          <p:nvPr/>
        </p:nvSpPr>
        <p:spPr>
          <a:xfrm>
            <a:off x="241862" y="5439666"/>
            <a:ext cx="8671549" cy="1446550"/>
          </a:xfrm>
          <a:prstGeom prst="rect">
            <a:avLst/>
          </a:prstGeom>
        </p:spPr>
        <p:txBody>
          <a:bodyPr wrap="square">
            <a:spAutoFit/>
          </a:bodyPr>
          <a:lstStyle/>
          <a:p>
            <a:pPr algn="just"/>
            <a:r>
              <a:rPr lang="ru-RU" sz="1600" b="1" dirty="0" smtClean="0">
                <a:solidFill>
                  <a:srgbClr val="FF0000"/>
                </a:solidFill>
                <a:latin typeface="Arial Narrow" pitchFamily="34" charset="0"/>
              </a:rPr>
              <a:t>ТҰРҒЫН ҮЙ ИНСПЕКЦИЯСЫ </a:t>
            </a:r>
            <a:r>
              <a:rPr lang="ru-RU" dirty="0">
                <a:solidFill>
                  <a:srgbClr val="002060"/>
                </a:solidFill>
                <a:latin typeface="Arial Narrow" panose="020B0606020202030204" pitchFamily="34" charset="0"/>
              </a:rPr>
              <a:t>е</a:t>
            </a:r>
            <a:r>
              <a:rPr lang="kk-KZ" dirty="0">
                <a:solidFill>
                  <a:srgbClr val="002060"/>
                </a:solidFill>
                <a:latin typeface="Arial Narrow" panose="020B0606020202030204" pitchFamily="34" charset="0"/>
              </a:rPr>
              <a:t>гер мүліктін меншік иелері бірлестігі тіркелген кезден бастап бір ай ішінде оның қатысушылары оның атқарушы органын дербес айқындамаса, тұрғын үй инспекциясы жалдамалы жеке тұлғалар – тұрғын үй басқарушылары арасында осы мүліктін меншік иелері бірлестігін басқару құқығына конкурс өткізеді және мүліктін меншік иелері бірлестігімен оның еңбек ақысы көлемін келісе отырып, тендер жеңімпазымен көппәтерлі тұрғын үйге қызмет көрсетуге және оны пайдалануға мүліктін меншік иелері бірлестігі атынан шарт жасасады.</a:t>
            </a:r>
            <a:endParaRPr lang="ru-RU" dirty="0">
              <a:solidFill>
                <a:srgbClr val="002060"/>
              </a:solidFill>
              <a:latin typeface="Arial Narrow" panose="020B0606020202030204" pitchFamily="34" charset="0"/>
            </a:endParaRPr>
          </a:p>
          <a:p>
            <a:pPr algn="just"/>
            <a:endParaRPr lang="ru-RU" sz="1600" dirty="0">
              <a:latin typeface="Arial Narrow" panose="020B0606020202030204" pitchFamily="34" charset="0"/>
            </a:endParaRPr>
          </a:p>
        </p:txBody>
      </p:sp>
      <p:sp>
        <p:nvSpPr>
          <p:cNvPr id="6" name="Прямоугольник 5"/>
          <p:cNvSpPr/>
          <p:nvPr/>
        </p:nvSpPr>
        <p:spPr>
          <a:xfrm>
            <a:off x="4762831" y="1550503"/>
            <a:ext cx="4373219" cy="914341"/>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Прямоугольник 52"/>
          <p:cNvSpPr/>
          <p:nvPr/>
        </p:nvSpPr>
        <p:spPr>
          <a:xfrm>
            <a:off x="4888623" y="1562288"/>
            <a:ext cx="4104302" cy="1200329"/>
          </a:xfrm>
          <a:prstGeom prst="rect">
            <a:avLst/>
          </a:prstGeom>
        </p:spPr>
        <p:txBody>
          <a:bodyPr wrap="square">
            <a:spAutoFit/>
          </a:bodyPr>
          <a:lstStyle/>
          <a:p>
            <a:pPr algn="just"/>
            <a:r>
              <a:rPr lang="kk-KZ" sz="1200" dirty="0" smtClean="0">
                <a:solidFill>
                  <a:srgbClr val="002060"/>
                </a:solidFill>
                <a:latin typeface="Arial Narrow" panose="020B0606020202030204" pitchFamily="34" charset="0"/>
              </a:rPr>
              <a:t>МИБ </a:t>
            </a:r>
            <a:r>
              <a:rPr lang="kk-KZ" sz="1200" dirty="0">
                <a:solidFill>
                  <a:srgbClr val="002060"/>
                </a:solidFill>
                <a:latin typeface="Arial Narrow" panose="020B0606020202030204" pitchFamily="34" charset="0"/>
              </a:rPr>
              <a:t>қатысушыларының бірінші </a:t>
            </a:r>
            <a:r>
              <a:rPr lang="kk-KZ" sz="1200" dirty="0" smtClean="0">
                <a:solidFill>
                  <a:srgbClr val="002060"/>
                </a:solidFill>
                <a:latin typeface="Arial Narrow" panose="020B0606020202030204" pitchFamily="34" charset="0"/>
              </a:rPr>
              <a:t>жиналысының шешімі </a:t>
            </a:r>
            <a:r>
              <a:rPr lang="ru-RU" sz="1200" dirty="0" smtClean="0">
                <a:solidFill>
                  <a:srgbClr val="002060"/>
                </a:solidFill>
                <a:latin typeface="Arial Narrow" pitchFamily="34" charset="0"/>
              </a:rPr>
              <a:t> </a:t>
            </a:r>
            <a:r>
              <a:rPr lang="kk-KZ" sz="1200" dirty="0" smtClean="0">
                <a:solidFill>
                  <a:srgbClr val="002060"/>
                </a:solidFill>
                <a:latin typeface="Arial Narrow" panose="020B0606020202030204" pitchFamily="34" charset="0"/>
              </a:rPr>
              <a:t>КТҮ </a:t>
            </a:r>
            <a:r>
              <a:rPr lang="kk-KZ" sz="1200" dirty="0">
                <a:solidFill>
                  <a:srgbClr val="002060"/>
                </a:solidFill>
                <a:latin typeface="Arial Narrow" panose="020B0606020202030204" pitchFamily="34" charset="0"/>
              </a:rPr>
              <a:t>барлық </a:t>
            </a:r>
            <a:r>
              <a:rPr lang="kk-KZ" sz="1200" dirty="0" smtClean="0">
                <a:solidFill>
                  <a:srgbClr val="002060"/>
                </a:solidFill>
                <a:latin typeface="Arial Narrow" panose="020B0606020202030204" pitchFamily="34" charset="0"/>
              </a:rPr>
              <a:t>пәтерлер </a:t>
            </a:r>
            <a:r>
              <a:rPr lang="kk-KZ" sz="1200" dirty="0">
                <a:solidFill>
                  <a:srgbClr val="002060"/>
                </a:solidFill>
                <a:latin typeface="Arial Narrow" panose="020B0606020202030204" pitchFamily="34" charset="0"/>
              </a:rPr>
              <a:t>және тұрғын емес үй-жайларының жалпы </a:t>
            </a:r>
            <a:r>
              <a:rPr lang="kk-KZ" sz="1200" dirty="0" smtClean="0">
                <a:solidFill>
                  <a:srgbClr val="002060"/>
                </a:solidFill>
                <a:latin typeface="Arial Narrow" panose="020B0606020202030204" pitchFamily="34" charset="0"/>
              </a:rPr>
              <a:t>алаңының </a:t>
            </a:r>
            <a:r>
              <a:rPr lang="kk-KZ" sz="1200" b="1" dirty="0">
                <a:solidFill>
                  <a:srgbClr val="002060"/>
                </a:solidFill>
                <a:latin typeface="Arial Narrow" panose="020B0606020202030204" pitchFamily="34" charset="0"/>
              </a:rPr>
              <a:t>кемінде үштен екісіне </a:t>
            </a:r>
            <a:r>
              <a:rPr lang="kk-KZ" sz="1200" dirty="0">
                <a:solidFill>
                  <a:srgbClr val="002060"/>
                </a:solidFill>
                <a:latin typeface="Arial Narrow" panose="020B0606020202030204" pitchFamily="34" charset="0"/>
              </a:rPr>
              <a:t>ие пәтерлер мен тұрғын емес үй-жайлардың иелерінің </a:t>
            </a:r>
            <a:r>
              <a:rPr lang="kk-KZ" sz="1200" dirty="0" smtClean="0">
                <a:solidFill>
                  <a:srgbClr val="002060"/>
                </a:solidFill>
                <a:latin typeface="Arial Narrow" panose="020B0606020202030204" pitchFamily="34" charset="0"/>
              </a:rPr>
              <a:t>қатысқаны кезде </a:t>
            </a:r>
            <a:r>
              <a:rPr lang="kk-KZ" sz="1200" dirty="0">
                <a:solidFill>
                  <a:srgbClr val="002060"/>
                </a:solidFill>
                <a:latin typeface="Arial Narrow" panose="020B0606020202030204" pitchFamily="34" charset="0"/>
              </a:rPr>
              <a:t>заңды болып табылады.</a:t>
            </a:r>
            <a:endParaRPr lang="ru-RU" sz="1200" dirty="0">
              <a:solidFill>
                <a:srgbClr val="002060"/>
              </a:solidFill>
              <a:latin typeface="Arial Narrow" panose="020B0606020202030204" pitchFamily="34" charset="0"/>
            </a:endParaRPr>
          </a:p>
          <a:p>
            <a:pPr algn="just"/>
            <a:endParaRPr lang="ru-RU" sz="1200" dirty="0">
              <a:solidFill>
                <a:srgbClr val="002060"/>
              </a:solidFill>
              <a:latin typeface="Arial Narrow" panose="020B0606020202030204" pitchFamily="34" charset="0"/>
            </a:endParaRPr>
          </a:p>
        </p:txBody>
      </p:sp>
      <p:sp>
        <p:nvSpPr>
          <p:cNvPr id="55" name="Прямоугольник 54"/>
          <p:cNvSpPr/>
          <p:nvPr/>
        </p:nvSpPr>
        <p:spPr>
          <a:xfrm>
            <a:off x="4754522" y="2656534"/>
            <a:ext cx="4372503" cy="1035297"/>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6" name="Прямоугольник 55"/>
          <p:cNvSpPr/>
          <p:nvPr/>
        </p:nvSpPr>
        <p:spPr>
          <a:xfrm>
            <a:off x="4824549" y="2783043"/>
            <a:ext cx="4192125" cy="830997"/>
          </a:xfrm>
          <a:prstGeom prst="rect">
            <a:avLst/>
          </a:prstGeom>
        </p:spPr>
        <p:txBody>
          <a:bodyPr wrap="square">
            <a:spAutoFit/>
          </a:bodyPr>
          <a:lstStyle/>
          <a:p>
            <a:pPr algn="just"/>
            <a:r>
              <a:rPr lang="kk-KZ" sz="1200" dirty="0">
                <a:solidFill>
                  <a:srgbClr val="002060"/>
                </a:solidFill>
                <a:latin typeface="Arial Narrow" panose="020B0606020202030204" pitchFamily="34" charset="0"/>
              </a:rPr>
              <a:t>Пәтерлер мен тұрғын емес үй-жайлардың меншiк иелерi дауыс беру кезiнде жеке (бөлек) меншіктегі жалпы мүліктегі оның үлесі айқындалған </a:t>
            </a:r>
            <a:r>
              <a:rPr lang="kk-KZ" sz="1200" b="1" dirty="0">
                <a:solidFill>
                  <a:srgbClr val="002060"/>
                </a:solidFill>
                <a:latin typeface="Arial Narrow" panose="020B0606020202030204" pitchFamily="34" charset="0"/>
              </a:rPr>
              <a:t>оған тиесiлi мүлiктiң жалпы алаңына тең дауыс санына ие </a:t>
            </a:r>
            <a:endParaRPr lang="ru-RU" sz="1200" b="1" dirty="0">
              <a:solidFill>
                <a:srgbClr val="002060"/>
              </a:solidFill>
              <a:latin typeface="Arial Narrow" panose="020B0606020202030204" pitchFamily="34" charset="0"/>
            </a:endParaRPr>
          </a:p>
        </p:txBody>
      </p:sp>
      <p:sp>
        <p:nvSpPr>
          <p:cNvPr id="57" name="Прямоугольник 56"/>
          <p:cNvSpPr/>
          <p:nvPr/>
        </p:nvSpPr>
        <p:spPr>
          <a:xfrm>
            <a:off x="4762111" y="3940038"/>
            <a:ext cx="4372503" cy="1090182"/>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 name="Прямоугольник 57"/>
          <p:cNvSpPr/>
          <p:nvPr/>
        </p:nvSpPr>
        <p:spPr>
          <a:xfrm>
            <a:off x="4856459" y="4014556"/>
            <a:ext cx="4192125" cy="830997"/>
          </a:xfrm>
          <a:prstGeom prst="rect">
            <a:avLst/>
          </a:prstGeom>
        </p:spPr>
        <p:txBody>
          <a:bodyPr wrap="square">
            <a:spAutoFit/>
          </a:bodyPr>
          <a:lstStyle/>
          <a:p>
            <a:pPr algn="just"/>
            <a:r>
              <a:rPr lang="kk-KZ" sz="1200" dirty="0">
                <a:solidFill>
                  <a:srgbClr val="002060"/>
                </a:solidFill>
                <a:latin typeface="Arial Narrow" panose="020B0606020202030204" pitchFamily="34" charset="0"/>
              </a:rPr>
              <a:t>Бірінші жиналыстың шешімі отырысқа тікелей қатысқан немесе электрондық цифрлық қолтаңбамен дауыс берген пәтер </a:t>
            </a:r>
            <a:r>
              <a:rPr lang="kk-KZ" sz="1200" dirty="0" smtClean="0">
                <a:solidFill>
                  <a:srgbClr val="002060"/>
                </a:solidFill>
                <a:latin typeface="Arial Narrow" panose="020B0606020202030204" pitchFamily="34" charset="0"/>
              </a:rPr>
              <a:t>және </a:t>
            </a:r>
            <a:r>
              <a:rPr lang="kk-KZ" sz="1200" dirty="0">
                <a:solidFill>
                  <a:srgbClr val="002060"/>
                </a:solidFill>
                <a:latin typeface="Arial Narrow" panose="020B0606020202030204" pitchFamily="34" charset="0"/>
              </a:rPr>
              <a:t>тұрғын емес </a:t>
            </a:r>
            <a:r>
              <a:rPr lang="kk-KZ" sz="1200" dirty="0" smtClean="0">
                <a:solidFill>
                  <a:srgbClr val="002060"/>
                </a:solidFill>
                <a:latin typeface="Arial Narrow" panose="020B0606020202030204" pitchFamily="34" charset="0"/>
              </a:rPr>
              <a:t>үй-жайлар иелерінің жалпы </a:t>
            </a:r>
            <a:r>
              <a:rPr lang="kk-KZ" sz="1200" dirty="0">
                <a:solidFill>
                  <a:srgbClr val="002060"/>
                </a:solidFill>
                <a:latin typeface="Arial Narrow" panose="020B0606020202030204" pitchFamily="34" charset="0"/>
              </a:rPr>
              <a:t>санының </a:t>
            </a:r>
            <a:r>
              <a:rPr lang="kk-KZ" sz="1200" b="1" dirty="0">
                <a:solidFill>
                  <a:srgbClr val="002060"/>
                </a:solidFill>
                <a:latin typeface="Arial Narrow" panose="020B0606020202030204" pitchFamily="34" charset="0"/>
              </a:rPr>
              <a:t>көпшілік дауысымен </a:t>
            </a:r>
            <a:r>
              <a:rPr lang="kk-KZ" sz="1200" dirty="0">
                <a:solidFill>
                  <a:srgbClr val="002060"/>
                </a:solidFill>
                <a:latin typeface="Arial Narrow" panose="020B0606020202030204" pitchFamily="34" charset="0"/>
              </a:rPr>
              <a:t>қабылданады</a:t>
            </a:r>
            <a:endParaRPr lang="ru-RU" sz="1200" dirty="0">
              <a:solidFill>
                <a:srgbClr val="002060"/>
              </a:solidFill>
              <a:latin typeface="Arial Narrow" pitchFamily="34" charset="0"/>
            </a:endParaRPr>
          </a:p>
        </p:txBody>
      </p:sp>
      <p:sp>
        <p:nvSpPr>
          <p:cNvPr id="19" name="Прямоугольник 18"/>
          <p:cNvSpPr/>
          <p:nvPr/>
        </p:nvSpPr>
        <p:spPr>
          <a:xfrm>
            <a:off x="1869555" y="2769225"/>
            <a:ext cx="2551397" cy="954107"/>
          </a:xfrm>
          <a:prstGeom prst="rect">
            <a:avLst/>
          </a:prstGeom>
        </p:spPr>
        <p:txBody>
          <a:bodyPr wrap="square">
            <a:spAutoFit/>
          </a:bodyPr>
          <a:lstStyle/>
          <a:p>
            <a:pPr algn="ctr"/>
            <a:r>
              <a:rPr lang="ru-RU" i="1" dirty="0" err="1" smtClean="0">
                <a:solidFill>
                  <a:srgbClr val="002060"/>
                </a:solidFill>
                <a:latin typeface="Arial Narrow" pitchFamily="34" charset="0"/>
              </a:rPr>
              <a:t>екі</a:t>
            </a:r>
            <a:r>
              <a:rPr lang="ru-RU" i="1" dirty="0" smtClean="0">
                <a:solidFill>
                  <a:srgbClr val="002060"/>
                </a:solidFill>
                <a:latin typeface="Arial Narrow" pitchFamily="34" charset="0"/>
              </a:rPr>
              <a:t> </a:t>
            </a:r>
            <a:r>
              <a:rPr lang="ru-RU" i="1" dirty="0" err="1" smtClean="0">
                <a:solidFill>
                  <a:srgbClr val="002060"/>
                </a:solidFill>
                <a:latin typeface="Arial Narrow" pitchFamily="34" charset="0"/>
              </a:rPr>
              <a:t>айдан</a:t>
            </a:r>
            <a:r>
              <a:rPr lang="ru-RU" i="1" dirty="0" smtClean="0">
                <a:solidFill>
                  <a:srgbClr val="002060"/>
                </a:solidFill>
                <a:latin typeface="Arial Narrow" pitchFamily="34" charset="0"/>
              </a:rPr>
              <a:t> </a:t>
            </a:r>
            <a:r>
              <a:rPr lang="ru-RU" i="1" dirty="0" err="1" smtClean="0">
                <a:solidFill>
                  <a:srgbClr val="002060"/>
                </a:solidFill>
                <a:latin typeface="Arial Narrow" pitchFamily="34" charset="0"/>
              </a:rPr>
              <a:t>кеш</a:t>
            </a:r>
            <a:r>
              <a:rPr lang="ru-RU" i="1" dirty="0" smtClean="0">
                <a:solidFill>
                  <a:srgbClr val="002060"/>
                </a:solidFill>
                <a:latin typeface="Arial Narrow" pitchFamily="34" charset="0"/>
              </a:rPr>
              <a:t> </a:t>
            </a:r>
            <a:r>
              <a:rPr lang="ru-RU" i="1" dirty="0" err="1" smtClean="0">
                <a:solidFill>
                  <a:srgbClr val="002060"/>
                </a:solidFill>
                <a:latin typeface="Arial Narrow" pitchFamily="34" charset="0"/>
              </a:rPr>
              <a:t>емес</a:t>
            </a:r>
            <a:r>
              <a:rPr lang="ru-RU" i="1" dirty="0" smtClean="0">
                <a:solidFill>
                  <a:srgbClr val="002060"/>
                </a:solidFill>
                <a:latin typeface="Arial Narrow" pitchFamily="34" charset="0"/>
              </a:rPr>
              <a:t> </a:t>
            </a:r>
            <a:r>
              <a:rPr lang="ru-RU" i="1" dirty="0" err="1" smtClean="0">
                <a:solidFill>
                  <a:srgbClr val="002060"/>
                </a:solidFill>
                <a:latin typeface="Arial Narrow" pitchFamily="34" charset="0"/>
              </a:rPr>
              <a:t>уақытта</a:t>
            </a:r>
            <a:r>
              <a:rPr lang="ru-RU" i="1" dirty="0">
                <a:solidFill>
                  <a:srgbClr val="002060"/>
                </a:solidFill>
                <a:latin typeface="Arial Narrow" pitchFamily="34" charset="0"/>
              </a:rPr>
              <a:t> ЖАО </a:t>
            </a:r>
            <a:r>
              <a:rPr lang="ru-RU" i="1" dirty="0" err="1">
                <a:solidFill>
                  <a:srgbClr val="002060"/>
                </a:solidFill>
                <a:latin typeface="Arial Narrow" pitchFamily="34" charset="0"/>
              </a:rPr>
              <a:t>бастамасымен</a:t>
            </a:r>
            <a:r>
              <a:rPr lang="ru-RU" i="1" dirty="0">
                <a:solidFill>
                  <a:srgbClr val="002060"/>
                </a:solidFill>
                <a:latin typeface="Arial Narrow" pitchFamily="34" charset="0"/>
              </a:rPr>
              <a:t> </a:t>
            </a:r>
            <a:r>
              <a:rPr lang="ru-RU" i="1" dirty="0" err="1">
                <a:solidFill>
                  <a:srgbClr val="002060"/>
                </a:solidFill>
                <a:latin typeface="Arial Narrow" pitchFamily="34" charset="0"/>
              </a:rPr>
              <a:t>өткізіледі</a:t>
            </a:r>
            <a:r>
              <a:rPr lang="ru-RU" i="1" dirty="0">
                <a:solidFill>
                  <a:srgbClr val="002060"/>
                </a:solidFill>
                <a:latin typeface="Arial Narrow" pitchFamily="34" charset="0"/>
              </a:rPr>
              <a:t> </a:t>
            </a:r>
            <a:r>
              <a:rPr lang="ru-RU" b="1" dirty="0">
                <a:solidFill>
                  <a:srgbClr val="002060"/>
                </a:solidFill>
                <a:latin typeface="Arial Narrow" pitchFamily="34" charset="0"/>
              </a:rPr>
              <a:t>(</a:t>
            </a:r>
            <a:r>
              <a:rPr lang="ru-RU" b="1" dirty="0" err="1">
                <a:solidFill>
                  <a:srgbClr val="002060"/>
                </a:solidFill>
                <a:latin typeface="Arial Narrow" pitchFamily="34" charset="0"/>
              </a:rPr>
              <a:t>тұрғын-үй</a:t>
            </a:r>
            <a:r>
              <a:rPr lang="ru-RU" b="1" dirty="0">
                <a:solidFill>
                  <a:srgbClr val="002060"/>
                </a:solidFill>
                <a:latin typeface="Arial Narrow" pitchFamily="34" charset="0"/>
              </a:rPr>
              <a:t> </a:t>
            </a:r>
            <a:r>
              <a:rPr lang="ru-RU" b="1" dirty="0" err="1">
                <a:solidFill>
                  <a:srgbClr val="002060"/>
                </a:solidFill>
                <a:latin typeface="Arial Narrow" pitchFamily="34" charset="0"/>
              </a:rPr>
              <a:t>инспекциясы</a:t>
            </a:r>
            <a:r>
              <a:rPr lang="ru-RU" b="1" dirty="0">
                <a:solidFill>
                  <a:srgbClr val="002060"/>
                </a:solidFill>
                <a:latin typeface="Arial Narrow" pitchFamily="34" charset="0"/>
              </a:rPr>
              <a:t>)</a:t>
            </a:r>
          </a:p>
          <a:p>
            <a:pPr algn="ctr"/>
            <a:endParaRPr lang="ru-RU" b="1" dirty="0">
              <a:solidFill>
                <a:srgbClr val="002060"/>
              </a:solidFill>
              <a:latin typeface="Arial Narrow" pitchFamily="34" charset="0"/>
            </a:endParaRPr>
          </a:p>
        </p:txBody>
      </p:sp>
    </p:spTree>
    <p:extLst>
      <p:ext uri="{BB962C8B-B14F-4D97-AF65-F5344CB8AC3E}">
        <p14:creationId xmlns:p14="http://schemas.microsoft.com/office/powerpoint/2010/main" val="18501904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70" name="Picture 2" descr="D:\РАБОЧИЙ_СТОЛ\PNG\1poz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23926" y="2071183"/>
            <a:ext cx="2469807" cy="1803275"/>
          </a:xfrm>
          <a:prstGeom prst="rect">
            <a:avLst/>
          </a:prstGeom>
          <a:noFill/>
          <a:extLst>
            <a:ext uri="{909E8E84-426E-40DD-AFC4-6F175D3DCCD1}">
              <a14:hiddenFill xmlns:a14="http://schemas.microsoft.com/office/drawing/2010/main">
                <a:solidFill>
                  <a:srgbClr val="FFFFFF"/>
                </a:solidFill>
              </a14:hiddenFill>
            </a:ext>
          </a:extLst>
        </p:spPr>
      </p:pic>
      <p:sp>
        <p:nvSpPr>
          <p:cNvPr id="66" name="Прямоугольник 65"/>
          <p:cNvSpPr/>
          <p:nvPr/>
        </p:nvSpPr>
        <p:spPr>
          <a:xfrm>
            <a:off x="0" y="8802"/>
            <a:ext cx="9144000" cy="369332"/>
          </a:xfrm>
          <a:prstGeom prst="rect">
            <a:avLst/>
          </a:prstGeom>
          <a:solidFill>
            <a:srgbClr val="0070C0"/>
          </a:solidFill>
          <a:effectLst/>
        </p:spPr>
        <p:txBody>
          <a:bodyPr wrap="square" lIns="91440" tIns="45720" rIns="91440" bIns="45720">
            <a:spAutoFit/>
          </a:bodyPr>
          <a:lstStyle/>
          <a:p>
            <a:pPr algn="ctr"/>
            <a:r>
              <a:rPr lang="en-US" sz="1600" b="1" dirty="0" smtClean="0">
                <a:ln w="0"/>
                <a:solidFill>
                  <a:schemeClr val="bg1"/>
                </a:solidFill>
                <a:latin typeface="Arial Narrow" pitchFamily="34" charset="0"/>
              </a:rPr>
              <a:t>II – </a:t>
            </a:r>
            <a:r>
              <a:rPr lang="kk-KZ" sz="1600" b="1" dirty="0" smtClean="0">
                <a:ln w="0"/>
                <a:solidFill>
                  <a:schemeClr val="bg1"/>
                </a:solidFill>
                <a:latin typeface="Arial Narrow" pitchFamily="34" charset="0"/>
              </a:rPr>
              <a:t>КТ</a:t>
            </a:r>
            <a:r>
              <a:rPr lang="kk-KZ" sz="1800" b="1" dirty="0" smtClean="0">
                <a:ln w="0"/>
                <a:solidFill>
                  <a:schemeClr val="bg1"/>
                </a:solidFill>
                <a:latin typeface="Arial Narrow" pitchFamily="34" charset="0"/>
              </a:rPr>
              <a:t>Ү</a:t>
            </a:r>
            <a:r>
              <a:rPr lang="kk-KZ" sz="1600" b="1" dirty="0" smtClean="0">
                <a:ln w="0"/>
                <a:solidFill>
                  <a:schemeClr val="bg1"/>
                </a:solidFill>
                <a:latin typeface="Arial Narrow" pitchFamily="34" charset="0"/>
              </a:rPr>
              <a:t> КҮРДЕЛІ Ж</a:t>
            </a:r>
            <a:r>
              <a:rPr lang="kk-KZ" sz="1800" b="1" dirty="0" smtClean="0">
                <a:ln w="0"/>
                <a:solidFill>
                  <a:schemeClr val="bg1"/>
                </a:solidFill>
                <a:latin typeface="Arial Narrow" pitchFamily="34" charset="0"/>
              </a:rPr>
              <a:t>Ө</a:t>
            </a:r>
            <a:r>
              <a:rPr lang="kk-KZ" sz="1600" b="1" dirty="0" smtClean="0">
                <a:ln w="0"/>
                <a:solidFill>
                  <a:schemeClr val="bg1"/>
                </a:solidFill>
                <a:latin typeface="Arial Narrow" pitchFamily="34" charset="0"/>
              </a:rPr>
              <a:t>НДЕУІ  ҮШІН ҚАРАЖАТ ЖИНАУ МЕХАНИЗМІНІҢ </a:t>
            </a:r>
            <a:r>
              <a:rPr lang="ru-RU" sz="1600" b="1" dirty="0" smtClean="0">
                <a:ln w="0"/>
                <a:solidFill>
                  <a:schemeClr val="bg1"/>
                </a:solidFill>
                <a:latin typeface="Arial Narrow" pitchFamily="34" charset="0"/>
              </a:rPr>
              <a:t>РЕГЛАМЕНТТЕУ</a:t>
            </a:r>
            <a:endParaRPr lang="ru-RU" sz="1600" b="1" cap="none" spc="0" dirty="0">
              <a:ln w="0"/>
              <a:solidFill>
                <a:schemeClr val="bg1"/>
              </a:solidFill>
              <a:latin typeface="Arial Narrow" pitchFamily="34" charset="0"/>
            </a:endParaRPr>
          </a:p>
        </p:txBody>
      </p:sp>
      <p:sp>
        <p:nvSpPr>
          <p:cNvPr id="25" name="Овал 24"/>
          <p:cNvSpPr/>
          <p:nvPr/>
        </p:nvSpPr>
        <p:spPr>
          <a:xfrm>
            <a:off x="383548" y="731519"/>
            <a:ext cx="1707672" cy="1612068"/>
          </a:xfrm>
          <a:prstGeom prst="ellipse">
            <a:avLst/>
          </a:prstGeom>
          <a:solidFill>
            <a:srgbClr val="8BD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solidFill>
                <a:schemeClr val="tx1"/>
              </a:solidFill>
              <a:latin typeface="+mj-lt"/>
            </a:endParaRPr>
          </a:p>
        </p:txBody>
      </p:sp>
      <p:grpSp>
        <p:nvGrpSpPr>
          <p:cNvPr id="26" name="Группа 25"/>
          <p:cNvGrpSpPr/>
          <p:nvPr/>
        </p:nvGrpSpPr>
        <p:grpSpPr>
          <a:xfrm>
            <a:off x="587435" y="919992"/>
            <a:ext cx="1230686" cy="1045462"/>
            <a:chOff x="1841147" y="2734790"/>
            <a:chExt cx="4717322" cy="3962573"/>
          </a:xfrm>
        </p:grpSpPr>
        <p:sp>
          <p:nvSpPr>
            <p:cNvPr id="28" name="Овал 27"/>
            <p:cNvSpPr/>
            <p:nvPr/>
          </p:nvSpPr>
          <p:spPr>
            <a:xfrm>
              <a:off x="5923470" y="5888816"/>
              <a:ext cx="634999" cy="357287"/>
            </a:xfrm>
            <a:prstGeom prst="ellipse">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32" name="Группа 31"/>
            <p:cNvGrpSpPr/>
            <p:nvPr/>
          </p:nvGrpSpPr>
          <p:grpSpPr>
            <a:xfrm flipH="1">
              <a:off x="4502361" y="2873466"/>
              <a:ext cx="556772" cy="1591190"/>
              <a:chOff x="5201729" y="478360"/>
              <a:chExt cx="1988363" cy="5682483"/>
            </a:xfrm>
          </p:grpSpPr>
          <p:sp>
            <p:nvSpPr>
              <p:cNvPr id="274" name="Полилиния 273"/>
              <p:cNvSpPr/>
              <p:nvPr/>
            </p:nvSpPr>
            <p:spPr>
              <a:xfrm rot="20261571">
                <a:off x="5397930" y="3177995"/>
                <a:ext cx="1413422" cy="2584999"/>
              </a:xfrm>
              <a:custGeom>
                <a:avLst/>
                <a:gdLst>
                  <a:gd name="connsiteX0" fmla="*/ 945899 w 1413421"/>
                  <a:gd name="connsiteY0" fmla="*/ 0 h 2584999"/>
                  <a:gd name="connsiteX1" fmla="*/ 1413421 w 1413421"/>
                  <a:gd name="connsiteY1" fmla="*/ 312577 h 2584999"/>
                  <a:gd name="connsiteX2" fmla="*/ 1350258 w 1413421"/>
                  <a:gd name="connsiteY2" fmla="*/ 466529 h 2584999"/>
                  <a:gd name="connsiteX3" fmla="*/ 1300910 w 1413421"/>
                  <a:gd name="connsiteY3" fmla="*/ 499818 h 2584999"/>
                  <a:gd name="connsiteX4" fmla="*/ 321105 w 1413421"/>
                  <a:gd name="connsiteY4" fmla="*/ 2511608 h 2584999"/>
                  <a:gd name="connsiteX5" fmla="*/ 307868 w 1413421"/>
                  <a:gd name="connsiteY5" fmla="*/ 2547088 h 2584999"/>
                  <a:gd name="connsiteX6" fmla="*/ 296335 w 1413421"/>
                  <a:gd name="connsiteY6" fmla="*/ 2555796 h 2584999"/>
                  <a:gd name="connsiteX7" fmla="*/ 157851 w 1413421"/>
                  <a:gd name="connsiteY7" fmla="*/ 2584999 h 2584999"/>
                  <a:gd name="connsiteX8" fmla="*/ 19367 w 1413421"/>
                  <a:gd name="connsiteY8" fmla="*/ 2555796 h 2584999"/>
                  <a:gd name="connsiteX9" fmla="*/ 0 w 1413421"/>
                  <a:gd name="connsiteY9" fmla="*/ 2541172 h 2584999"/>
                  <a:gd name="connsiteX10" fmla="*/ 39124 w 1413421"/>
                  <a:gd name="connsiteY10" fmla="*/ 2436522 h 2584999"/>
                  <a:gd name="connsiteX11" fmla="*/ 37159 w 1413421"/>
                  <a:gd name="connsiteY11" fmla="*/ 2435776 h 2584999"/>
                  <a:gd name="connsiteX0" fmla="*/ 945899 w 1413421"/>
                  <a:gd name="connsiteY0" fmla="*/ 0 h 2584999"/>
                  <a:gd name="connsiteX1" fmla="*/ 1413421 w 1413421"/>
                  <a:gd name="connsiteY1" fmla="*/ 312577 h 2584999"/>
                  <a:gd name="connsiteX2" fmla="*/ 1350258 w 1413421"/>
                  <a:gd name="connsiteY2" fmla="*/ 466529 h 2584999"/>
                  <a:gd name="connsiteX3" fmla="*/ 1300910 w 1413421"/>
                  <a:gd name="connsiteY3" fmla="*/ 499818 h 2584999"/>
                  <a:gd name="connsiteX4" fmla="*/ 321105 w 1413421"/>
                  <a:gd name="connsiteY4" fmla="*/ 2511608 h 2584999"/>
                  <a:gd name="connsiteX5" fmla="*/ 307868 w 1413421"/>
                  <a:gd name="connsiteY5" fmla="*/ 2547088 h 2584999"/>
                  <a:gd name="connsiteX6" fmla="*/ 296335 w 1413421"/>
                  <a:gd name="connsiteY6" fmla="*/ 2555796 h 2584999"/>
                  <a:gd name="connsiteX7" fmla="*/ 157851 w 1413421"/>
                  <a:gd name="connsiteY7" fmla="*/ 2584999 h 2584999"/>
                  <a:gd name="connsiteX8" fmla="*/ 19367 w 1413421"/>
                  <a:gd name="connsiteY8" fmla="*/ 2555796 h 2584999"/>
                  <a:gd name="connsiteX9" fmla="*/ 0 w 1413421"/>
                  <a:gd name="connsiteY9" fmla="*/ 2541172 h 2584999"/>
                  <a:gd name="connsiteX10" fmla="*/ 39124 w 1413421"/>
                  <a:gd name="connsiteY10" fmla="*/ 2436522 h 2584999"/>
                  <a:gd name="connsiteX11" fmla="*/ 37159 w 1413421"/>
                  <a:gd name="connsiteY11" fmla="*/ 2435776 h 2584999"/>
                  <a:gd name="connsiteX12" fmla="*/ 487453 w 1413421"/>
                  <a:gd name="connsiteY12" fmla="*/ 1352459 h 2584999"/>
                  <a:gd name="connsiteX13" fmla="*/ 945899 w 1413421"/>
                  <a:gd name="connsiteY13" fmla="*/ 0 h 2584999"/>
                  <a:gd name="connsiteX0" fmla="*/ 945899 w 1413421"/>
                  <a:gd name="connsiteY0" fmla="*/ 0 h 2584999"/>
                  <a:gd name="connsiteX1" fmla="*/ 1413421 w 1413421"/>
                  <a:gd name="connsiteY1" fmla="*/ 312577 h 2584999"/>
                  <a:gd name="connsiteX2" fmla="*/ 1350258 w 1413421"/>
                  <a:gd name="connsiteY2" fmla="*/ 466529 h 2584999"/>
                  <a:gd name="connsiteX3" fmla="*/ 1300910 w 1413421"/>
                  <a:gd name="connsiteY3" fmla="*/ 499818 h 2584999"/>
                  <a:gd name="connsiteX4" fmla="*/ 900949 w 1413421"/>
                  <a:gd name="connsiteY4" fmla="*/ 1398561 h 2584999"/>
                  <a:gd name="connsiteX5" fmla="*/ 321105 w 1413421"/>
                  <a:gd name="connsiteY5" fmla="*/ 2511608 h 2584999"/>
                  <a:gd name="connsiteX6" fmla="*/ 307868 w 1413421"/>
                  <a:gd name="connsiteY6" fmla="*/ 2547088 h 2584999"/>
                  <a:gd name="connsiteX7" fmla="*/ 296335 w 1413421"/>
                  <a:gd name="connsiteY7" fmla="*/ 2555796 h 2584999"/>
                  <a:gd name="connsiteX8" fmla="*/ 157851 w 1413421"/>
                  <a:gd name="connsiteY8" fmla="*/ 2584999 h 2584999"/>
                  <a:gd name="connsiteX9" fmla="*/ 19367 w 1413421"/>
                  <a:gd name="connsiteY9" fmla="*/ 2555796 h 2584999"/>
                  <a:gd name="connsiteX10" fmla="*/ 0 w 1413421"/>
                  <a:gd name="connsiteY10" fmla="*/ 2541172 h 2584999"/>
                  <a:gd name="connsiteX11" fmla="*/ 39124 w 1413421"/>
                  <a:gd name="connsiteY11" fmla="*/ 2436522 h 2584999"/>
                  <a:gd name="connsiteX12" fmla="*/ 37159 w 1413421"/>
                  <a:gd name="connsiteY12" fmla="*/ 2435776 h 2584999"/>
                  <a:gd name="connsiteX13" fmla="*/ 487453 w 1413421"/>
                  <a:gd name="connsiteY13" fmla="*/ 1352459 h 2584999"/>
                  <a:gd name="connsiteX14" fmla="*/ 945899 w 1413421"/>
                  <a:gd name="connsiteY14" fmla="*/ 0 h 258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13421" h="2584999">
                    <a:moveTo>
                      <a:pt x="945899" y="0"/>
                    </a:moveTo>
                    <a:lnTo>
                      <a:pt x="1413421" y="312577"/>
                    </a:lnTo>
                    <a:lnTo>
                      <a:pt x="1350258" y="466529"/>
                    </a:lnTo>
                    <a:lnTo>
                      <a:pt x="1300910" y="499818"/>
                    </a:lnTo>
                    <a:cubicBezTo>
                      <a:pt x="1155137" y="785139"/>
                      <a:pt x="1046722" y="1113240"/>
                      <a:pt x="900949" y="1398561"/>
                    </a:cubicBezTo>
                    <a:lnTo>
                      <a:pt x="321105" y="2511608"/>
                    </a:lnTo>
                    <a:lnTo>
                      <a:pt x="307868" y="2547088"/>
                    </a:lnTo>
                    <a:lnTo>
                      <a:pt x="296335" y="2555796"/>
                    </a:lnTo>
                    <a:cubicBezTo>
                      <a:pt x="260894" y="2573839"/>
                      <a:pt x="211933" y="2584999"/>
                      <a:pt x="157851" y="2584999"/>
                    </a:cubicBezTo>
                    <a:cubicBezTo>
                      <a:pt x="103769" y="2584999"/>
                      <a:pt x="54808" y="2573839"/>
                      <a:pt x="19367" y="2555796"/>
                    </a:cubicBezTo>
                    <a:lnTo>
                      <a:pt x="0" y="2541172"/>
                    </a:lnTo>
                    <a:lnTo>
                      <a:pt x="39124" y="2436522"/>
                    </a:lnTo>
                    <a:lnTo>
                      <a:pt x="37159" y="2435776"/>
                    </a:lnTo>
                    <a:cubicBezTo>
                      <a:pt x="171591" y="2068243"/>
                      <a:pt x="353021" y="1719992"/>
                      <a:pt x="487453" y="1352459"/>
                    </a:cubicBezTo>
                    <a:cubicBezTo>
                      <a:pt x="655934" y="908067"/>
                      <a:pt x="777418" y="444392"/>
                      <a:pt x="945899" y="0"/>
                    </a:cubicBezTo>
                    <a:close/>
                  </a:path>
                </a:pathLst>
              </a:custGeom>
              <a:solidFill>
                <a:srgbClr val="3434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75" name="Полилиния 274"/>
              <p:cNvSpPr/>
              <p:nvPr/>
            </p:nvSpPr>
            <p:spPr>
              <a:xfrm rot="20645689">
                <a:off x="6194090" y="2758488"/>
                <a:ext cx="895798" cy="2784425"/>
              </a:xfrm>
              <a:custGeom>
                <a:avLst/>
                <a:gdLst>
                  <a:gd name="connsiteX0" fmla="*/ 682965 w 895797"/>
                  <a:gd name="connsiteY0" fmla="*/ 0 h 2784423"/>
                  <a:gd name="connsiteX1" fmla="*/ 666571 w 895797"/>
                  <a:gd name="connsiteY1" fmla="*/ 502421 h 2784423"/>
                  <a:gd name="connsiteX2" fmla="*/ 895797 w 895797"/>
                  <a:gd name="connsiteY2" fmla="*/ 504354 h 2784423"/>
                  <a:gd name="connsiteX3" fmla="*/ 238084 w 895797"/>
                  <a:gd name="connsiteY3" fmla="*/ 2628144 h 2784423"/>
                  <a:gd name="connsiteX4" fmla="*/ 242195 w 895797"/>
                  <a:gd name="connsiteY4" fmla="*/ 2630789 h 2784423"/>
                  <a:gd name="connsiteX5" fmla="*/ 192688 w 895797"/>
                  <a:gd name="connsiteY5" fmla="*/ 2774215 h 2784423"/>
                  <a:gd name="connsiteX6" fmla="*/ 178440 w 895797"/>
                  <a:gd name="connsiteY6" fmla="*/ 2775897 h 2784423"/>
                  <a:gd name="connsiteX7" fmla="*/ 177729 w 895797"/>
                  <a:gd name="connsiteY7" fmla="*/ 2777958 h 2784423"/>
                  <a:gd name="connsiteX8" fmla="*/ 122970 w 895797"/>
                  <a:gd name="connsiteY8" fmla="*/ 2784423 h 2784423"/>
                  <a:gd name="connsiteX9" fmla="*/ 16809 w 895797"/>
                  <a:gd name="connsiteY9" fmla="*/ 2758710 h 2784423"/>
                  <a:gd name="connsiteX10" fmla="*/ 0 w 895797"/>
                  <a:gd name="connsiteY10" fmla="*/ 2744131 h 2784423"/>
                  <a:gd name="connsiteX11" fmla="*/ 2704 w 895797"/>
                  <a:gd name="connsiteY11" fmla="*/ 2729401 h 2784423"/>
                  <a:gd name="connsiteX12" fmla="*/ 347 w 895797"/>
                  <a:gd name="connsiteY12" fmla="*/ 2729194 h 2784423"/>
                  <a:gd name="connsiteX13" fmla="*/ 412325 w 895797"/>
                  <a:gd name="connsiteY13" fmla="*/ 643903 h 2784423"/>
                  <a:gd name="connsiteX14" fmla="*/ 379200 w 895797"/>
                  <a:gd name="connsiteY14" fmla="*/ 672099 h 2784423"/>
                  <a:gd name="connsiteX15" fmla="*/ 430136 w 895797"/>
                  <a:gd name="connsiteY15" fmla="*/ 493349 h 2784423"/>
                  <a:gd name="connsiteX16" fmla="*/ 452002 w 895797"/>
                  <a:gd name="connsiteY16" fmla="*/ 504665 h 2784423"/>
                  <a:gd name="connsiteX0" fmla="*/ 682965 w 895797"/>
                  <a:gd name="connsiteY0" fmla="*/ 0 h 2784423"/>
                  <a:gd name="connsiteX1" fmla="*/ 666571 w 895797"/>
                  <a:gd name="connsiteY1" fmla="*/ 502421 h 2784423"/>
                  <a:gd name="connsiteX2" fmla="*/ 895797 w 895797"/>
                  <a:gd name="connsiteY2" fmla="*/ 504354 h 2784423"/>
                  <a:gd name="connsiteX3" fmla="*/ 238084 w 895797"/>
                  <a:gd name="connsiteY3" fmla="*/ 2628144 h 2784423"/>
                  <a:gd name="connsiteX4" fmla="*/ 242195 w 895797"/>
                  <a:gd name="connsiteY4" fmla="*/ 2630789 h 2784423"/>
                  <a:gd name="connsiteX5" fmla="*/ 192688 w 895797"/>
                  <a:gd name="connsiteY5" fmla="*/ 2774215 h 2784423"/>
                  <a:gd name="connsiteX6" fmla="*/ 178440 w 895797"/>
                  <a:gd name="connsiteY6" fmla="*/ 2775897 h 2784423"/>
                  <a:gd name="connsiteX7" fmla="*/ 177729 w 895797"/>
                  <a:gd name="connsiteY7" fmla="*/ 2777958 h 2784423"/>
                  <a:gd name="connsiteX8" fmla="*/ 122970 w 895797"/>
                  <a:gd name="connsiteY8" fmla="*/ 2784423 h 2784423"/>
                  <a:gd name="connsiteX9" fmla="*/ 16809 w 895797"/>
                  <a:gd name="connsiteY9" fmla="*/ 2758710 h 2784423"/>
                  <a:gd name="connsiteX10" fmla="*/ 0 w 895797"/>
                  <a:gd name="connsiteY10" fmla="*/ 2744131 h 2784423"/>
                  <a:gd name="connsiteX11" fmla="*/ 2704 w 895797"/>
                  <a:gd name="connsiteY11" fmla="*/ 2729401 h 2784423"/>
                  <a:gd name="connsiteX12" fmla="*/ 347 w 895797"/>
                  <a:gd name="connsiteY12" fmla="*/ 2729194 h 2784423"/>
                  <a:gd name="connsiteX13" fmla="*/ 340356 w 895797"/>
                  <a:gd name="connsiteY13" fmla="*/ 1376112 h 2784423"/>
                  <a:gd name="connsiteX14" fmla="*/ 412325 w 895797"/>
                  <a:gd name="connsiteY14" fmla="*/ 643903 h 2784423"/>
                  <a:gd name="connsiteX15" fmla="*/ 379200 w 895797"/>
                  <a:gd name="connsiteY15" fmla="*/ 672099 h 2784423"/>
                  <a:gd name="connsiteX16" fmla="*/ 430136 w 895797"/>
                  <a:gd name="connsiteY16" fmla="*/ 493349 h 2784423"/>
                  <a:gd name="connsiteX17" fmla="*/ 452002 w 895797"/>
                  <a:gd name="connsiteY17" fmla="*/ 504665 h 2784423"/>
                  <a:gd name="connsiteX18" fmla="*/ 682965 w 895797"/>
                  <a:gd name="connsiteY18" fmla="*/ 0 h 2784423"/>
                  <a:gd name="connsiteX0" fmla="*/ 682965 w 895797"/>
                  <a:gd name="connsiteY0" fmla="*/ 0 h 2784423"/>
                  <a:gd name="connsiteX1" fmla="*/ 666571 w 895797"/>
                  <a:gd name="connsiteY1" fmla="*/ 502421 h 2784423"/>
                  <a:gd name="connsiteX2" fmla="*/ 895797 w 895797"/>
                  <a:gd name="connsiteY2" fmla="*/ 504354 h 2784423"/>
                  <a:gd name="connsiteX3" fmla="*/ 238084 w 895797"/>
                  <a:gd name="connsiteY3" fmla="*/ 2628144 h 2784423"/>
                  <a:gd name="connsiteX4" fmla="*/ 242195 w 895797"/>
                  <a:gd name="connsiteY4" fmla="*/ 2630789 h 2784423"/>
                  <a:gd name="connsiteX5" fmla="*/ 192688 w 895797"/>
                  <a:gd name="connsiteY5" fmla="*/ 2774215 h 2784423"/>
                  <a:gd name="connsiteX6" fmla="*/ 178440 w 895797"/>
                  <a:gd name="connsiteY6" fmla="*/ 2775897 h 2784423"/>
                  <a:gd name="connsiteX7" fmla="*/ 177729 w 895797"/>
                  <a:gd name="connsiteY7" fmla="*/ 2777958 h 2784423"/>
                  <a:gd name="connsiteX8" fmla="*/ 122970 w 895797"/>
                  <a:gd name="connsiteY8" fmla="*/ 2784423 h 2784423"/>
                  <a:gd name="connsiteX9" fmla="*/ 16809 w 895797"/>
                  <a:gd name="connsiteY9" fmla="*/ 2758710 h 2784423"/>
                  <a:gd name="connsiteX10" fmla="*/ 0 w 895797"/>
                  <a:gd name="connsiteY10" fmla="*/ 2744131 h 2784423"/>
                  <a:gd name="connsiteX11" fmla="*/ 2704 w 895797"/>
                  <a:gd name="connsiteY11" fmla="*/ 2729401 h 2784423"/>
                  <a:gd name="connsiteX12" fmla="*/ 347 w 895797"/>
                  <a:gd name="connsiteY12" fmla="*/ 2729194 h 2784423"/>
                  <a:gd name="connsiteX13" fmla="*/ 306341 w 895797"/>
                  <a:gd name="connsiteY13" fmla="*/ 1379625 h 2784423"/>
                  <a:gd name="connsiteX14" fmla="*/ 412325 w 895797"/>
                  <a:gd name="connsiteY14" fmla="*/ 643903 h 2784423"/>
                  <a:gd name="connsiteX15" fmla="*/ 379200 w 895797"/>
                  <a:gd name="connsiteY15" fmla="*/ 672099 h 2784423"/>
                  <a:gd name="connsiteX16" fmla="*/ 430136 w 895797"/>
                  <a:gd name="connsiteY16" fmla="*/ 493349 h 2784423"/>
                  <a:gd name="connsiteX17" fmla="*/ 452002 w 895797"/>
                  <a:gd name="connsiteY17" fmla="*/ 504665 h 2784423"/>
                  <a:gd name="connsiteX18" fmla="*/ 682965 w 895797"/>
                  <a:gd name="connsiteY18" fmla="*/ 0 h 278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5797" h="2784423">
                    <a:moveTo>
                      <a:pt x="682965" y="0"/>
                    </a:moveTo>
                    <a:lnTo>
                      <a:pt x="666571" y="502421"/>
                    </a:lnTo>
                    <a:lnTo>
                      <a:pt x="895797" y="504354"/>
                    </a:lnTo>
                    <a:lnTo>
                      <a:pt x="238084" y="2628144"/>
                    </a:lnTo>
                    <a:lnTo>
                      <a:pt x="242195" y="2630789"/>
                    </a:lnTo>
                    <a:lnTo>
                      <a:pt x="192688" y="2774215"/>
                    </a:lnTo>
                    <a:lnTo>
                      <a:pt x="178440" y="2775897"/>
                    </a:lnTo>
                    <a:lnTo>
                      <a:pt x="177729" y="2777958"/>
                    </a:lnTo>
                    <a:lnTo>
                      <a:pt x="122970" y="2784423"/>
                    </a:lnTo>
                    <a:cubicBezTo>
                      <a:pt x="81512" y="2784423"/>
                      <a:pt x="43978" y="2774597"/>
                      <a:pt x="16809" y="2758710"/>
                    </a:cubicBezTo>
                    <a:lnTo>
                      <a:pt x="0" y="2744131"/>
                    </a:lnTo>
                    <a:lnTo>
                      <a:pt x="2704" y="2729401"/>
                    </a:lnTo>
                    <a:lnTo>
                      <a:pt x="347" y="2729194"/>
                    </a:lnTo>
                    <a:cubicBezTo>
                      <a:pt x="90131" y="2275857"/>
                      <a:pt x="216557" y="1832962"/>
                      <a:pt x="306341" y="1379625"/>
                    </a:cubicBezTo>
                    <a:lnTo>
                      <a:pt x="412325" y="643903"/>
                    </a:lnTo>
                    <a:lnTo>
                      <a:pt x="379200" y="672099"/>
                    </a:lnTo>
                    <a:lnTo>
                      <a:pt x="430136" y="493349"/>
                    </a:lnTo>
                    <a:lnTo>
                      <a:pt x="452002" y="504665"/>
                    </a:lnTo>
                    <a:lnTo>
                      <a:pt x="682965" y="0"/>
                    </a:lnTo>
                    <a:close/>
                  </a:path>
                </a:pathLst>
              </a:custGeom>
              <a:solidFill>
                <a:srgbClr val="343436"/>
              </a:solidFill>
              <a:ln>
                <a:noFill/>
              </a:ln>
              <a:effectLst>
                <a:innerShdw blurRad="63500" dist="50800" dir="10800000">
                  <a:prstClr val="black">
                    <a:alpha val="50000"/>
                  </a:prstClr>
                </a:innerShdw>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276" name="Группа 275"/>
              <p:cNvGrpSpPr/>
              <p:nvPr/>
            </p:nvGrpSpPr>
            <p:grpSpPr>
              <a:xfrm>
                <a:off x="5201729" y="478360"/>
                <a:ext cx="1988363" cy="5682483"/>
                <a:chOff x="6420928" y="434818"/>
                <a:chExt cx="1988365" cy="5682482"/>
              </a:xfrm>
            </p:grpSpPr>
            <p:sp>
              <p:nvSpPr>
                <p:cNvPr id="277" name="Скругленный прямоугольник 236"/>
                <p:cNvSpPr/>
                <p:nvPr/>
              </p:nvSpPr>
              <p:spPr>
                <a:xfrm>
                  <a:off x="7368271" y="734710"/>
                  <a:ext cx="409607" cy="703086"/>
                </a:xfrm>
                <a:custGeom>
                  <a:avLst/>
                  <a:gdLst>
                    <a:gd name="connsiteX0" fmla="*/ 0 w 509588"/>
                    <a:gd name="connsiteY0" fmla="*/ 216692 h 648695"/>
                    <a:gd name="connsiteX1" fmla="*/ 216692 w 509588"/>
                    <a:gd name="connsiteY1" fmla="*/ 0 h 648695"/>
                    <a:gd name="connsiteX2" fmla="*/ 292896 w 509588"/>
                    <a:gd name="connsiteY2" fmla="*/ 0 h 648695"/>
                    <a:gd name="connsiteX3" fmla="*/ 509588 w 509588"/>
                    <a:gd name="connsiteY3" fmla="*/ 216692 h 648695"/>
                    <a:gd name="connsiteX4" fmla="*/ 509588 w 509588"/>
                    <a:gd name="connsiteY4" fmla="*/ 432003 h 648695"/>
                    <a:gd name="connsiteX5" fmla="*/ 292896 w 509588"/>
                    <a:gd name="connsiteY5" fmla="*/ 648695 h 648695"/>
                    <a:gd name="connsiteX6" fmla="*/ 216692 w 509588"/>
                    <a:gd name="connsiteY6" fmla="*/ 648695 h 648695"/>
                    <a:gd name="connsiteX7" fmla="*/ 0 w 509588"/>
                    <a:gd name="connsiteY7" fmla="*/ 432003 h 648695"/>
                    <a:gd name="connsiteX8" fmla="*/ 0 w 509588"/>
                    <a:gd name="connsiteY8" fmla="*/ 216692 h 648695"/>
                    <a:gd name="connsiteX0" fmla="*/ 0 w 509588"/>
                    <a:gd name="connsiteY0" fmla="*/ 216692 h 648695"/>
                    <a:gd name="connsiteX1" fmla="*/ 216692 w 509588"/>
                    <a:gd name="connsiteY1" fmla="*/ 0 h 648695"/>
                    <a:gd name="connsiteX2" fmla="*/ 292896 w 509588"/>
                    <a:gd name="connsiteY2" fmla="*/ 0 h 648695"/>
                    <a:gd name="connsiteX3" fmla="*/ 509588 w 509588"/>
                    <a:gd name="connsiteY3" fmla="*/ 216692 h 648695"/>
                    <a:gd name="connsiteX4" fmla="*/ 509588 w 509588"/>
                    <a:gd name="connsiteY4" fmla="*/ 432003 h 648695"/>
                    <a:gd name="connsiteX5" fmla="*/ 292896 w 509588"/>
                    <a:gd name="connsiteY5" fmla="*/ 648695 h 648695"/>
                    <a:gd name="connsiteX6" fmla="*/ 216692 w 509588"/>
                    <a:gd name="connsiteY6" fmla="*/ 648695 h 648695"/>
                    <a:gd name="connsiteX7" fmla="*/ 60048 w 509588"/>
                    <a:gd name="connsiteY7" fmla="*/ 521486 h 648695"/>
                    <a:gd name="connsiteX8" fmla="*/ 0 w 509588"/>
                    <a:gd name="connsiteY8" fmla="*/ 432003 h 648695"/>
                    <a:gd name="connsiteX9" fmla="*/ 0 w 509588"/>
                    <a:gd name="connsiteY9" fmla="*/ 216692 h 648695"/>
                    <a:gd name="connsiteX0" fmla="*/ 0 w 509588"/>
                    <a:gd name="connsiteY0" fmla="*/ 216692 h 648695"/>
                    <a:gd name="connsiteX1" fmla="*/ 216692 w 509588"/>
                    <a:gd name="connsiteY1" fmla="*/ 0 h 648695"/>
                    <a:gd name="connsiteX2" fmla="*/ 292896 w 509588"/>
                    <a:gd name="connsiteY2" fmla="*/ 0 h 648695"/>
                    <a:gd name="connsiteX3" fmla="*/ 509588 w 509588"/>
                    <a:gd name="connsiteY3" fmla="*/ 216692 h 648695"/>
                    <a:gd name="connsiteX4" fmla="*/ 509588 w 509588"/>
                    <a:gd name="connsiteY4" fmla="*/ 432003 h 648695"/>
                    <a:gd name="connsiteX5" fmla="*/ 292896 w 509588"/>
                    <a:gd name="connsiteY5" fmla="*/ 648695 h 648695"/>
                    <a:gd name="connsiteX6" fmla="*/ 216692 w 509588"/>
                    <a:gd name="connsiteY6" fmla="*/ 648695 h 648695"/>
                    <a:gd name="connsiteX7" fmla="*/ 60048 w 509588"/>
                    <a:gd name="connsiteY7" fmla="*/ 521486 h 648695"/>
                    <a:gd name="connsiteX8" fmla="*/ 0 w 509588"/>
                    <a:gd name="connsiteY8" fmla="*/ 417716 h 648695"/>
                    <a:gd name="connsiteX9" fmla="*/ 0 w 509588"/>
                    <a:gd name="connsiteY9" fmla="*/ 216692 h 648695"/>
                    <a:gd name="connsiteX0" fmla="*/ 0 w 509588"/>
                    <a:gd name="connsiteY0" fmla="*/ 216692 h 648695"/>
                    <a:gd name="connsiteX1" fmla="*/ 216692 w 509588"/>
                    <a:gd name="connsiteY1" fmla="*/ 0 h 648695"/>
                    <a:gd name="connsiteX2" fmla="*/ 292896 w 509588"/>
                    <a:gd name="connsiteY2" fmla="*/ 0 h 648695"/>
                    <a:gd name="connsiteX3" fmla="*/ 509588 w 509588"/>
                    <a:gd name="connsiteY3" fmla="*/ 216692 h 648695"/>
                    <a:gd name="connsiteX4" fmla="*/ 509588 w 509588"/>
                    <a:gd name="connsiteY4" fmla="*/ 432003 h 648695"/>
                    <a:gd name="connsiteX5" fmla="*/ 292896 w 509588"/>
                    <a:gd name="connsiteY5" fmla="*/ 648695 h 648695"/>
                    <a:gd name="connsiteX6" fmla="*/ 240505 w 509588"/>
                    <a:gd name="connsiteY6" fmla="*/ 620120 h 648695"/>
                    <a:gd name="connsiteX7" fmla="*/ 60048 w 509588"/>
                    <a:gd name="connsiteY7" fmla="*/ 521486 h 648695"/>
                    <a:gd name="connsiteX8" fmla="*/ 0 w 509588"/>
                    <a:gd name="connsiteY8" fmla="*/ 417716 h 648695"/>
                    <a:gd name="connsiteX9" fmla="*/ 0 w 509588"/>
                    <a:gd name="connsiteY9" fmla="*/ 216692 h 648695"/>
                    <a:gd name="connsiteX0" fmla="*/ 0 w 509588"/>
                    <a:gd name="connsiteY0" fmla="*/ 216692 h 639170"/>
                    <a:gd name="connsiteX1" fmla="*/ 216692 w 509588"/>
                    <a:gd name="connsiteY1" fmla="*/ 0 h 639170"/>
                    <a:gd name="connsiteX2" fmla="*/ 292896 w 509588"/>
                    <a:gd name="connsiteY2" fmla="*/ 0 h 639170"/>
                    <a:gd name="connsiteX3" fmla="*/ 509588 w 509588"/>
                    <a:gd name="connsiteY3" fmla="*/ 216692 h 639170"/>
                    <a:gd name="connsiteX4" fmla="*/ 509588 w 509588"/>
                    <a:gd name="connsiteY4" fmla="*/ 432003 h 639170"/>
                    <a:gd name="connsiteX5" fmla="*/ 297659 w 509588"/>
                    <a:gd name="connsiteY5" fmla="*/ 639170 h 639170"/>
                    <a:gd name="connsiteX6" fmla="*/ 240505 w 509588"/>
                    <a:gd name="connsiteY6" fmla="*/ 620120 h 639170"/>
                    <a:gd name="connsiteX7" fmla="*/ 60048 w 509588"/>
                    <a:gd name="connsiteY7" fmla="*/ 521486 h 639170"/>
                    <a:gd name="connsiteX8" fmla="*/ 0 w 509588"/>
                    <a:gd name="connsiteY8" fmla="*/ 417716 h 639170"/>
                    <a:gd name="connsiteX9" fmla="*/ 0 w 509588"/>
                    <a:gd name="connsiteY9" fmla="*/ 216692 h 639170"/>
                    <a:gd name="connsiteX0" fmla="*/ 0 w 509588"/>
                    <a:gd name="connsiteY0" fmla="*/ 216692 h 639170"/>
                    <a:gd name="connsiteX1" fmla="*/ 216692 w 509588"/>
                    <a:gd name="connsiteY1" fmla="*/ 0 h 639170"/>
                    <a:gd name="connsiteX2" fmla="*/ 292896 w 509588"/>
                    <a:gd name="connsiteY2" fmla="*/ 0 h 639170"/>
                    <a:gd name="connsiteX3" fmla="*/ 509588 w 509588"/>
                    <a:gd name="connsiteY3" fmla="*/ 216692 h 639170"/>
                    <a:gd name="connsiteX4" fmla="*/ 509588 w 509588"/>
                    <a:gd name="connsiteY4" fmla="*/ 432003 h 639170"/>
                    <a:gd name="connsiteX5" fmla="*/ 297659 w 509588"/>
                    <a:gd name="connsiteY5" fmla="*/ 639170 h 639170"/>
                    <a:gd name="connsiteX6" fmla="*/ 240505 w 509588"/>
                    <a:gd name="connsiteY6" fmla="*/ 620120 h 639170"/>
                    <a:gd name="connsiteX7" fmla="*/ 60048 w 509588"/>
                    <a:gd name="connsiteY7" fmla="*/ 521486 h 639170"/>
                    <a:gd name="connsiteX8" fmla="*/ 0 w 509588"/>
                    <a:gd name="connsiteY8" fmla="*/ 417716 h 639170"/>
                    <a:gd name="connsiteX9" fmla="*/ 0 w 509588"/>
                    <a:gd name="connsiteY9" fmla="*/ 216692 h 639170"/>
                    <a:gd name="connsiteX0" fmla="*/ 0 w 518326"/>
                    <a:gd name="connsiteY0" fmla="*/ 216692 h 639170"/>
                    <a:gd name="connsiteX1" fmla="*/ 216692 w 518326"/>
                    <a:gd name="connsiteY1" fmla="*/ 0 h 639170"/>
                    <a:gd name="connsiteX2" fmla="*/ 292896 w 518326"/>
                    <a:gd name="connsiteY2" fmla="*/ 0 h 639170"/>
                    <a:gd name="connsiteX3" fmla="*/ 509588 w 518326"/>
                    <a:gd name="connsiteY3" fmla="*/ 216692 h 639170"/>
                    <a:gd name="connsiteX4" fmla="*/ 509588 w 518326"/>
                    <a:gd name="connsiteY4" fmla="*/ 432003 h 639170"/>
                    <a:gd name="connsiteX5" fmla="*/ 501351 w 518326"/>
                    <a:gd name="connsiteY5" fmla="*/ 514765 h 639170"/>
                    <a:gd name="connsiteX6" fmla="*/ 297659 w 518326"/>
                    <a:gd name="connsiteY6" fmla="*/ 639170 h 639170"/>
                    <a:gd name="connsiteX7" fmla="*/ 240505 w 518326"/>
                    <a:gd name="connsiteY7" fmla="*/ 620120 h 639170"/>
                    <a:gd name="connsiteX8" fmla="*/ 60048 w 518326"/>
                    <a:gd name="connsiteY8" fmla="*/ 521486 h 639170"/>
                    <a:gd name="connsiteX9" fmla="*/ 0 w 518326"/>
                    <a:gd name="connsiteY9" fmla="*/ 417716 h 639170"/>
                    <a:gd name="connsiteX10" fmla="*/ 0 w 518326"/>
                    <a:gd name="connsiteY10" fmla="*/ 216692 h 63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8326" h="639170">
                      <a:moveTo>
                        <a:pt x="0" y="216692"/>
                      </a:moveTo>
                      <a:cubicBezTo>
                        <a:pt x="0" y="97016"/>
                        <a:pt x="97016" y="0"/>
                        <a:pt x="216692" y="0"/>
                      </a:cubicBezTo>
                      <a:lnTo>
                        <a:pt x="292896" y="0"/>
                      </a:lnTo>
                      <a:cubicBezTo>
                        <a:pt x="412572" y="0"/>
                        <a:pt x="509588" y="97016"/>
                        <a:pt x="509588" y="216692"/>
                      </a:cubicBezTo>
                      <a:lnTo>
                        <a:pt x="509588" y="432003"/>
                      </a:lnTo>
                      <a:cubicBezTo>
                        <a:pt x="505202" y="481682"/>
                        <a:pt x="536673" y="480237"/>
                        <a:pt x="501351" y="514765"/>
                      </a:cubicBezTo>
                      <a:cubicBezTo>
                        <a:pt x="466030" y="549293"/>
                        <a:pt x="338120" y="621611"/>
                        <a:pt x="297659" y="639170"/>
                      </a:cubicBezTo>
                      <a:lnTo>
                        <a:pt x="240505" y="620120"/>
                      </a:lnTo>
                      <a:cubicBezTo>
                        <a:pt x="200903" y="609237"/>
                        <a:pt x="96163" y="557601"/>
                        <a:pt x="60048" y="521486"/>
                      </a:cubicBezTo>
                      <a:cubicBezTo>
                        <a:pt x="23933" y="485371"/>
                        <a:pt x="9214" y="478834"/>
                        <a:pt x="0" y="417716"/>
                      </a:cubicBezTo>
                      <a:lnTo>
                        <a:pt x="0" y="216692"/>
                      </a:lnTo>
                      <a:close/>
                    </a:path>
                  </a:pathLst>
                </a:custGeom>
                <a:solidFill>
                  <a:srgbClr val="F4B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78" name="Скругленный прямоугольник 236"/>
                <p:cNvSpPr/>
                <p:nvPr/>
              </p:nvSpPr>
              <p:spPr>
                <a:xfrm>
                  <a:off x="7352953" y="551692"/>
                  <a:ext cx="560549" cy="703086"/>
                </a:xfrm>
                <a:custGeom>
                  <a:avLst/>
                  <a:gdLst>
                    <a:gd name="connsiteX0" fmla="*/ 0 w 509588"/>
                    <a:gd name="connsiteY0" fmla="*/ 216692 h 648695"/>
                    <a:gd name="connsiteX1" fmla="*/ 216692 w 509588"/>
                    <a:gd name="connsiteY1" fmla="*/ 0 h 648695"/>
                    <a:gd name="connsiteX2" fmla="*/ 292896 w 509588"/>
                    <a:gd name="connsiteY2" fmla="*/ 0 h 648695"/>
                    <a:gd name="connsiteX3" fmla="*/ 509588 w 509588"/>
                    <a:gd name="connsiteY3" fmla="*/ 216692 h 648695"/>
                    <a:gd name="connsiteX4" fmla="*/ 509588 w 509588"/>
                    <a:gd name="connsiteY4" fmla="*/ 432003 h 648695"/>
                    <a:gd name="connsiteX5" fmla="*/ 292896 w 509588"/>
                    <a:gd name="connsiteY5" fmla="*/ 648695 h 648695"/>
                    <a:gd name="connsiteX6" fmla="*/ 216692 w 509588"/>
                    <a:gd name="connsiteY6" fmla="*/ 648695 h 648695"/>
                    <a:gd name="connsiteX7" fmla="*/ 0 w 509588"/>
                    <a:gd name="connsiteY7" fmla="*/ 432003 h 648695"/>
                    <a:gd name="connsiteX8" fmla="*/ 0 w 509588"/>
                    <a:gd name="connsiteY8" fmla="*/ 216692 h 648695"/>
                    <a:gd name="connsiteX0" fmla="*/ 0 w 509588"/>
                    <a:gd name="connsiteY0" fmla="*/ 216692 h 648695"/>
                    <a:gd name="connsiteX1" fmla="*/ 216692 w 509588"/>
                    <a:gd name="connsiteY1" fmla="*/ 0 h 648695"/>
                    <a:gd name="connsiteX2" fmla="*/ 292896 w 509588"/>
                    <a:gd name="connsiteY2" fmla="*/ 0 h 648695"/>
                    <a:gd name="connsiteX3" fmla="*/ 509588 w 509588"/>
                    <a:gd name="connsiteY3" fmla="*/ 216692 h 648695"/>
                    <a:gd name="connsiteX4" fmla="*/ 509588 w 509588"/>
                    <a:gd name="connsiteY4" fmla="*/ 432003 h 648695"/>
                    <a:gd name="connsiteX5" fmla="*/ 292896 w 509588"/>
                    <a:gd name="connsiteY5" fmla="*/ 648695 h 648695"/>
                    <a:gd name="connsiteX6" fmla="*/ 216692 w 509588"/>
                    <a:gd name="connsiteY6" fmla="*/ 648695 h 648695"/>
                    <a:gd name="connsiteX7" fmla="*/ 60048 w 509588"/>
                    <a:gd name="connsiteY7" fmla="*/ 521486 h 648695"/>
                    <a:gd name="connsiteX8" fmla="*/ 0 w 509588"/>
                    <a:gd name="connsiteY8" fmla="*/ 432003 h 648695"/>
                    <a:gd name="connsiteX9" fmla="*/ 0 w 509588"/>
                    <a:gd name="connsiteY9" fmla="*/ 216692 h 648695"/>
                    <a:gd name="connsiteX0" fmla="*/ 0 w 509588"/>
                    <a:gd name="connsiteY0" fmla="*/ 216692 h 648695"/>
                    <a:gd name="connsiteX1" fmla="*/ 216692 w 509588"/>
                    <a:gd name="connsiteY1" fmla="*/ 0 h 648695"/>
                    <a:gd name="connsiteX2" fmla="*/ 292896 w 509588"/>
                    <a:gd name="connsiteY2" fmla="*/ 0 h 648695"/>
                    <a:gd name="connsiteX3" fmla="*/ 509588 w 509588"/>
                    <a:gd name="connsiteY3" fmla="*/ 216692 h 648695"/>
                    <a:gd name="connsiteX4" fmla="*/ 509588 w 509588"/>
                    <a:gd name="connsiteY4" fmla="*/ 432003 h 648695"/>
                    <a:gd name="connsiteX5" fmla="*/ 292896 w 509588"/>
                    <a:gd name="connsiteY5" fmla="*/ 648695 h 648695"/>
                    <a:gd name="connsiteX6" fmla="*/ 216692 w 509588"/>
                    <a:gd name="connsiteY6" fmla="*/ 648695 h 648695"/>
                    <a:gd name="connsiteX7" fmla="*/ 60048 w 509588"/>
                    <a:gd name="connsiteY7" fmla="*/ 521486 h 648695"/>
                    <a:gd name="connsiteX8" fmla="*/ 0 w 509588"/>
                    <a:gd name="connsiteY8" fmla="*/ 417716 h 648695"/>
                    <a:gd name="connsiteX9" fmla="*/ 0 w 509588"/>
                    <a:gd name="connsiteY9" fmla="*/ 216692 h 648695"/>
                    <a:gd name="connsiteX0" fmla="*/ 0 w 509588"/>
                    <a:gd name="connsiteY0" fmla="*/ 216692 h 648695"/>
                    <a:gd name="connsiteX1" fmla="*/ 216692 w 509588"/>
                    <a:gd name="connsiteY1" fmla="*/ 0 h 648695"/>
                    <a:gd name="connsiteX2" fmla="*/ 292896 w 509588"/>
                    <a:gd name="connsiteY2" fmla="*/ 0 h 648695"/>
                    <a:gd name="connsiteX3" fmla="*/ 509588 w 509588"/>
                    <a:gd name="connsiteY3" fmla="*/ 216692 h 648695"/>
                    <a:gd name="connsiteX4" fmla="*/ 509588 w 509588"/>
                    <a:gd name="connsiteY4" fmla="*/ 432003 h 648695"/>
                    <a:gd name="connsiteX5" fmla="*/ 292896 w 509588"/>
                    <a:gd name="connsiteY5" fmla="*/ 648695 h 648695"/>
                    <a:gd name="connsiteX6" fmla="*/ 240505 w 509588"/>
                    <a:gd name="connsiteY6" fmla="*/ 620120 h 648695"/>
                    <a:gd name="connsiteX7" fmla="*/ 60048 w 509588"/>
                    <a:gd name="connsiteY7" fmla="*/ 521486 h 648695"/>
                    <a:gd name="connsiteX8" fmla="*/ 0 w 509588"/>
                    <a:gd name="connsiteY8" fmla="*/ 417716 h 648695"/>
                    <a:gd name="connsiteX9" fmla="*/ 0 w 509588"/>
                    <a:gd name="connsiteY9" fmla="*/ 216692 h 648695"/>
                    <a:gd name="connsiteX0" fmla="*/ 0 w 509588"/>
                    <a:gd name="connsiteY0" fmla="*/ 216692 h 639170"/>
                    <a:gd name="connsiteX1" fmla="*/ 216692 w 509588"/>
                    <a:gd name="connsiteY1" fmla="*/ 0 h 639170"/>
                    <a:gd name="connsiteX2" fmla="*/ 292896 w 509588"/>
                    <a:gd name="connsiteY2" fmla="*/ 0 h 639170"/>
                    <a:gd name="connsiteX3" fmla="*/ 509588 w 509588"/>
                    <a:gd name="connsiteY3" fmla="*/ 216692 h 639170"/>
                    <a:gd name="connsiteX4" fmla="*/ 509588 w 509588"/>
                    <a:gd name="connsiteY4" fmla="*/ 432003 h 639170"/>
                    <a:gd name="connsiteX5" fmla="*/ 297659 w 509588"/>
                    <a:gd name="connsiteY5" fmla="*/ 639170 h 639170"/>
                    <a:gd name="connsiteX6" fmla="*/ 240505 w 509588"/>
                    <a:gd name="connsiteY6" fmla="*/ 620120 h 639170"/>
                    <a:gd name="connsiteX7" fmla="*/ 60048 w 509588"/>
                    <a:gd name="connsiteY7" fmla="*/ 521486 h 639170"/>
                    <a:gd name="connsiteX8" fmla="*/ 0 w 509588"/>
                    <a:gd name="connsiteY8" fmla="*/ 417716 h 639170"/>
                    <a:gd name="connsiteX9" fmla="*/ 0 w 509588"/>
                    <a:gd name="connsiteY9" fmla="*/ 216692 h 639170"/>
                    <a:gd name="connsiteX0" fmla="*/ 0 w 509588"/>
                    <a:gd name="connsiteY0" fmla="*/ 216692 h 639170"/>
                    <a:gd name="connsiteX1" fmla="*/ 216692 w 509588"/>
                    <a:gd name="connsiteY1" fmla="*/ 0 h 639170"/>
                    <a:gd name="connsiteX2" fmla="*/ 292896 w 509588"/>
                    <a:gd name="connsiteY2" fmla="*/ 0 h 639170"/>
                    <a:gd name="connsiteX3" fmla="*/ 509588 w 509588"/>
                    <a:gd name="connsiteY3" fmla="*/ 216692 h 639170"/>
                    <a:gd name="connsiteX4" fmla="*/ 509588 w 509588"/>
                    <a:gd name="connsiteY4" fmla="*/ 432003 h 639170"/>
                    <a:gd name="connsiteX5" fmla="*/ 297659 w 509588"/>
                    <a:gd name="connsiteY5" fmla="*/ 639170 h 639170"/>
                    <a:gd name="connsiteX6" fmla="*/ 240505 w 509588"/>
                    <a:gd name="connsiteY6" fmla="*/ 620120 h 639170"/>
                    <a:gd name="connsiteX7" fmla="*/ 60048 w 509588"/>
                    <a:gd name="connsiteY7" fmla="*/ 521486 h 639170"/>
                    <a:gd name="connsiteX8" fmla="*/ 0 w 509588"/>
                    <a:gd name="connsiteY8" fmla="*/ 417716 h 639170"/>
                    <a:gd name="connsiteX9" fmla="*/ 0 w 509588"/>
                    <a:gd name="connsiteY9" fmla="*/ 216692 h 639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588" h="639170">
                      <a:moveTo>
                        <a:pt x="0" y="216692"/>
                      </a:moveTo>
                      <a:cubicBezTo>
                        <a:pt x="0" y="97016"/>
                        <a:pt x="97016" y="0"/>
                        <a:pt x="216692" y="0"/>
                      </a:cubicBezTo>
                      <a:lnTo>
                        <a:pt x="292896" y="0"/>
                      </a:lnTo>
                      <a:cubicBezTo>
                        <a:pt x="412572" y="0"/>
                        <a:pt x="509588" y="97016"/>
                        <a:pt x="509588" y="216692"/>
                      </a:cubicBezTo>
                      <a:lnTo>
                        <a:pt x="509588" y="432003"/>
                      </a:lnTo>
                      <a:cubicBezTo>
                        <a:pt x="509588" y="551679"/>
                        <a:pt x="412573" y="596307"/>
                        <a:pt x="297659" y="639170"/>
                      </a:cubicBezTo>
                      <a:lnTo>
                        <a:pt x="240505" y="620120"/>
                      </a:lnTo>
                      <a:cubicBezTo>
                        <a:pt x="200903" y="609237"/>
                        <a:pt x="96163" y="557601"/>
                        <a:pt x="60048" y="521486"/>
                      </a:cubicBezTo>
                      <a:cubicBezTo>
                        <a:pt x="23933" y="485371"/>
                        <a:pt x="9214" y="478834"/>
                        <a:pt x="0" y="417716"/>
                      </a:cubicBezTo>
                      <a:lnTo>
                        <a:pt x="0" y="216692"/>
                      </a:lnTo>
                      <a:close/>
                    </a:path>
                  </a:pathLst>
                </a:custGeom>
                <a:solidFill>
                  <a:srgbClr val="F9C9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79" name="Блок-схема: узел 10"/>
                <p:cNvSpPr/>
                <p:nvPr/>
              </p:nvSpPr>
              <p:spPr>
                <a:xfrm rot="20636424" flipH="1">
                  <a:off x="7319483" y="767296"/>
                  <a:ext cx="82050" cy="201609"/>
                </a:xfrm>
                <a:custGeom>
                  <a:avLst/>
                  <a:gdLst>
                    <a:gd name="connsiteX0" fmla="*/ 0 w 165100"/>
                    <a:gd name="connsiteY0" fmla="*/ 109676 h 219351"/>
                    <a:gd name="connsiteX1" fmla="*/ 82550 w 165100"/>
                    <a:gd name="connsiteY1" fmla="*/ 0 h 219351"/>
                    <a:gd name="connsiteX2" fmla="*/ 165100 w 165100"/>
                    <a:gd name="connsiteY2" fmla="*/ 109676 h 219351"/>
                    <a:gd name="connsiteX3" fmla="*/ 82550 w 165100"/>
                    <a:gd name="connsiteY3" fmla="*/ 219352 h 219351"/>
                    <a:gd name="connsiteX4" fmla="*/ 0 w 165100"/>
                    <a:gd name="connsiteY4" fmla="*/ 109676 h 219351"/>
                    <a:gd name="connsiteX0" fmla="*/ 0 w 165100"/>
                    <a:gd name="connsiteY0" fmla="*/ 109676 h 219352"/>
                    <a:gd name="connsiteX1" fmla="*/ 82550 w 165100"/>
                    <a:gd name="connsiteY1" fmla="*/ 0 h 219352"/>
                    <a:gd name="connsiteX2" fmla="*/ 165100 w 165100"/>
                    <a:gd name="connsiteY2" fmla="*/ 109676 h 219352"/>
                    <a:gd name="connsiteX3" fmla="*/ 82550 w 165100"/>
                    <a:gd name="connsiteY3" fmla="*/ 219352 h 219352"/>
                    <a:gd name="connsiteX4" fmla="*/ 0 w 165100"/>
                    <a:gd name="connsiteY4" fmla="*/ 109676 h 219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219352">
                      <a:moveTo>
                        <a:pt x="0" y="109676"/>
                      </a:moveTo>
                      <a:cubicBezTo>
                        <a:pt x="0" y="49104"/>
                        <a:pt x="36959" y="0"/>
                        <a:pt x="82550" y="0"/>
                      </a:cubicBezTo>
                      <a:cubicBezTo>
                        <a:pt x="128141" y="0"/>
                        <a:pt x="127857" y="33419"/>
                        <a:pt x="165100" y="109676"/>
                      </a:cubicBezTo>
                      <a:cubicBezTo>
                        <a:pt x="165100" y="170248"/>
                        <a:pt x="128141" y="219352"/>
                        <a:pt x="82550" y="219352"/>
                      </a:cubicBezTo>
                      <a:cubicBezTo>
                        <a:pt x="36959" y="219352"/>
                        <a:pt x="0" y="170248"/>
                        <a:pt x="0" y="109676"/>
                      </a:cubicBezTo>
                      <a:close/>
                    </a:path>
                  </a:pathLst>
                </a:custGeom>
                <a:solidFill>
                  <a:srgbClr val="F9C9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80" name="Блок-схема: узел 10"/>
                <p:cNvSpPr/>
                <p:nvPr/>
              </p:nvSpPr>
              <p:spPr>
                <a:xfrm rot="348676" flipH="1">
                  <a:off x="7855993" y="777699"/>
                  <a:ext cx="82050" cy="201609"/>
                </a:xfrm>
                <a:custGeom>
                  <a:avLst/>
                  <a:gdLst>
                    <a:gd name="connsiteX0" fmla="*/ 0 w 165100"/>
                    <a:gd name="connsiteY0" fmla="*/ 109676 h 219351"/>
                    <a:gd name="connsiteX1" fmla="*/ 82550 w 165100"/>
                    <a:gd name="connsiteY1" fmla="*/ 0 h 219351"/>
                    <a:gd name="connsiteX2" fmla="*/ 165100 w 165100"/>
                    <a:gd name="connsiteY2" fmla="*/ 109676 h 219351"/>
                    <a:gd name="connsiteX3" fmla="*/ 82550 w 165100"/>
                    <a:gd name="connsiteY3" fmla="*/ 219352 h 219351"/>
                    <a:gd name="connsiteX4" fmla="*/ 0 w 165100"/>
                    <a:gd name="connsiteY4" fmla="*/ 109676 h 219351"/>
                    <a:gd name="connsiteX0" fmla="*/ 0 w 165100"/>
                    <a:gd name="connsiteY0" fmla="*/ 109676 h 219352"/>
                    <a:gd name="connsiteX1" fmla="*/ 82550 w 165100"/>
                    <a:gd name="connsiteY1" fmla="*/ 0 h 219352"/>
                    <a:gd name="connsiteX2" fmla="*/ 165100 w 165100"/>
                    <a:gd name="connsiteY2" fmla="*/ 109676 h 219352"/>
                    <a:gd name="connsiteX3" fmla="*/ 82550 w 165100"/>
                    <a:gd name="connsiteY3" fmla="*/ 219352 h 219352"/>
                    <a:gd name="connsiteX4" fmla="*/ 0 w 165100"/>
                    <a:gd name="connsiteY4" fmla="*/ 109676 h 2193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219352">
                      <a:moveTo>
                        <a:pt x="0" y="109676"/>
                      </a:moveTo>
                      <a:cubicBezTo>
                        <a:pt x="0" y="49104"/>
                        <a:pt x="36959" y="0"/>
                        <a:pt x="82550" y="0"/>
                      </a:cubicBezTo>
                      <a:cubicBezTo>
                        <a:pt x="128141" y="0"/>
                        <a:pt x="127857" y="33419"/>
                        <a:pt x="165100" y="109676"/>
                      </a:cubicBezTo>
                      <a:cubicBezTo>
                        <a:pt x="165100" y="170248"/>
                        <a:pt x="128141" y="219352"/>
                        <a:pt x="82550" y="219352"/>
                      </a:cubicBezTo>
                      <a:cubicBezTo>
                        <a:pt x="36959" y="219352"/>
                        <a:pt x="0" y="170248"/>
                        <a:pt x="0" y="109676"/>
                      </a:cubicBezTo>
                      <a:close/>
                    </a:path>
                  </a:pathLst>
                </a:custGeom>
                <a:solidFill>
                  <a:srgbClr val="F9C9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81" name="Полилиния 280"/>
                <p:cNvSpPr/>
                <p:nvPr/>
              </p:nvSpPr>
              <p:spPr>
                <a:xfrm>
                  <a:off x="7321029" y="434818"/>
                  <a:ext cx="627011" cy="488701"/>
                </a:xfrm>
                <a:custGeom>
                  <a:avLst/>
                  <a:gdLst>
                    <a:gd name="connsiteX0" fmla="*/ 345330 w 689709"/>
                    <a:gd name="connsiteY0" fmla="*/ 0 h 537569"/>
                    <a:gd name="connsiteX1" fmla="*/ 588217 w 689709"/>
                    <a:gd name="connsiteY1" fmla="*/ 57150 h 537569"/>
                    <a:gd name="connsiteX2" fmla="*/ 676323 w 689709"/>
                    <a:gd name="connsiteY2" fmla="*/ 301032 h 537569"/>
                    <a:gd name="connsiteX3" fmla="*/ 662422 w 689709"/>
                    <a:gd name="connsiteY3" fmla="*/ 495125 h 537569"/>
                    <a:gd name="connsiteX4" fmla="*/ 645277 w 689709"/>
                    <a:gd name="connsiteY4" fmla="*/ 513026 h 537569"/>
                    <a:gd name="connsiteX5" fmla="*/ 628698 w 689709"/>
                    <a:gd name="connsiteY5" fmla="*/ 269081 h 537569"/>
                    <a:gd name="connsiteX6" fmla="*/ 483442 w 689709"/>
                    <a:gd name="connsiteY6" fmla="*/ 319088 h 537569"/>
                    <a:gd name="connsiteX7" fmla="*/ 342949 w 689709"/>
                    <a:gd name="connsiteY7" fmla="*/ 347662 h 537569"/>
                    <a:gd name="connsiteX8" fmla="*/ 178642 w 689709"/>
                    <a:gd name="connsiteY8" fmla="*/ 314325 h 537569"/>
                    <a:gd name="connsiteX9" fmla="*/ 173880 w 689709"/>
                    <a:gd name="connsiteY9" fmla="*/ 323850 h 537569"/>
                    <a:gd name="connsiteX10" fmla="*/ 169117 w 689709"/>
                    <a:gd name="connsiteY10" fmla="*/ 338138 h 537569"/>
                    <a:gd name="connsiteX11" fmla="*/ 161973 w 689709"/>
                    <a:gd name="connsiteY11" fmla="*/ 342900 h 537569"/>
                    <a:gd name="connsiteX12" fmla="*/ 154830 w 689709"/>
                    <a:gd name="connsiteY12" fmla="*/ 345281 h 537569"/>
                    <a:gd name="connsiteX13" fmla="*/ 152448 w 689709"/>
                    <a:gd name="connsiteY13" fmla="*/ 352425 h 537569"/>
                    <a:gd name="connsiteX14" fmla="*/ 147686 w 689709"/>
                    <a:gd name="connsiteY14" fmla="*/ 359569 h 537569"/>
                    <a:gd name="connsiteX15" fmla="*/ 145305 w 689709"/>
                    <a:gd name="connsiteY15" fmla="*/ 428625 h 537569"/>
                    <a:gd name="connsiteX16" fmla="*/ 140542 w 689709"/>
                    <a:gd name="connsiteY16" fmla="*/ 452438 h 537569"/>
                    <a:gd name="connsiteX17" fmla="*/ 135780 w 689709"/>
                    <a:gd name="connsiteY17" fmla="*/ 464344 h 537569"/>
                    <a:gd name="connsiteX18" fmla="*/ 133398 w 689709"/>
                    <a:gd name="connsiteY18" fmla="*/ 504825 h 537569"/>
                    <a:gd name="connsiteX19" fmla="*/ 131017 w 689709"/>
                    <a:gd name="connsiteY19" fmla="*/ 514350 h 537569"/>
                    <a:gd name="connsiteX20" fmla="*/ 123873 w 689709"/>
                    <a:gd name="connsiteY20" fmla="*/ 535781 h 537569"/>
                    <a:gd name="connsiteX21" fmla="*/ 123000 w 689709"/>
                    <a:gd name="connsiteY21" fmla="*/ 537569 h 537569"/>
                    <a:gd name="connsiteX22" fmla="*/ 10880 w 689709"/>
                    <a:gd name="connsiteY22" fmla="*/ 450445 h 537569"/>
                    <a:gd name="connsiteX23" fmla="*/ 6738 w 689709"/>
                    <a:gd name="connsiteY23" fmla="*/ 438328 h 537569"/>
                    <a:gd name="connsiteX24" fmla="*/ 48 w 689709"/>
                    <a:gd name="connsiteY24" fmla="*/ 308176 h 537569"/>
                    <a:gd name="connsiteX25" fmla="*/ 126255 w 689709"/>
                    <a:gd name="connsiteY25" fmla="*/ 57151 h 537569"/>
                    <a:gd name="connsiteX26" fmla="*/ 345330 w 689709"/>
                    <a:gd name="connsiteY26" fmla="*/ 0 h 53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9709" h="537569">
                      <a:moveTo>
                        <a:pt x="345330" y="0"/>
                      </a:moveTo>
                      <a:cubicBezTo>
                        <a:pt x="422324" y="0"/>
                        <a:pt x="524320" y="5787"/>
                        <a:pt x="588217" y="57150"/>
                      </a:cubicBezTo>
                      <a:cubicBezTo>
                        <a:pt x="652114" y="108513"/>
                        <a:pt x="663956" y="228036"/>
                        <a:pt x="676323" y="301032"/>
                      </a:cubicBezTo>
                      <a:cubicBezTo>
                        <a:pt x="688690" y="374028"/>
                        <a:pt x="704274" y="441759"/>
                        <a:pt x="662422" y="495125"/>
                      </a:cubicBezTo>
                      <a:lnTo>
                        <a:pt x="645277" y="513026"/>
                      </a:lnTo>
                      <a:lnTo>
                        <a:pt x="628698" y="269081"/>
                      </a:lnTo>
                      <a:lnTo>
                        <a:pt x="483442" y="319088"/>
                      </a:lnTo>
                      <a:cubicBezTo>
                        <a:pt x="444548" y="331788"/>
                        <a:pt x="381843" y="334962"/>
                        <a:pt x="342949" y="347662"/>
                      </a:cubicBezTo>
                      <a:lnTo>
                        <a:pt x="178642" y="314325"/>
                      </a:lnTo>
                      <a:cubicBezTo>
                        <a:pt x="174486" y="318481"/>
                        <a:pt x="176616" y="315641"/>
                        <a:pt x="173880" y="323850"/>
                      </a:cubicBezTo>
                      <a:lnTo>
                        <a:pt x="169117" y="338138"/>
                      </a:lnTo>
                      <a:cubicBezTo>
                        <a:pt x="166736" y="339725"/>
                        <a:pt x="164533" y="341620"/>
                        <a:pt x="161973" y="342900"/>
                      </a:cubicBezTo>
                      <a:cubicBezTo>
                        <a:pt x="159728" y="344022"/>
                        <a:pt x="156605" y="343506"/>
                        <a:pt x="154830" y="345281"/>
                      </a:cubicBezTo>
                      <a:cubicBezTo>
                        <a:pt x="153055" y="347056"/>
                        <a:pt x="153571" y="350180"/>
                        <a:pt x="152448" y="352425"/>
                      </a:cubicBezTo>
                      <a:cubicBezTo>
                        <a:pt x="151168" y="354985"/>
                        <a:pt x="147953" y="356720"/>
                        <a:pt x="147686" y="359569"/>
                      </a:cubicBezTo>
                      <a:cubicBezTo>
                        <a:pt x="145536" y="382501"/>
                        <a:pt x="146099" y="405606"/>
                        <a:pt x="145305" y="428625"/>
                      </a:cubicBezTo>
                      <a:cubicBezTo>
                        <a:pt x="144133" y="435655"/>
                        <a:pt x="142909" y="445336"/>
                        <a:pt x="140542" y="452438"/>
                      </a:cubicBezTo>
                      <a:cubicBezTo>
                        <a:pt x="139190" y="456493"/>
                        <a:pt x="136358" y="460109"/>
                        <a:pt x="135780" y="464344"/>
                      </a:cubicBezTo>
                      <a:cubicBezTo>
                        <a:pt x="133954" y="477737"/>
                        <a:pt x="134680" y="491369"/>
                        <a:pt x="133398" y="504825"/>
                      </a:cubicBezTo>
                      <a:cubicBezTo>
                        <a:pt x="133088" y="508083"/>
                        <a:pt x="131979" y="511222"/>
                        <a:pt x="131017" y="514350"/>
                      </a:cubicBezTo>
                      <a:cubicBezTo>
                        <a:pt x="128802" y="521547"/>
                        <a:pt x="126254" y="528637"/>
                        <a:pt x="123873" y="535781"/>
                      </a:cubicBezTo>
                      <a:lnTo>
                        <a:pt x="123000" y="537569"/>
                      </a:lnTo>
                      <a:lnTo>
                        <a:pt x="10880" y="450445"/>
                      </a:lnTo>
                      <a:lnTo>
                        <a:pt x="6738" y="438328"/>
                      </a:lnTo>
                      <a:cubicBezTo>
                        <a:pt x="-997" y="398325"/>
                        <a:pt x="48" y="354343"/>
                        <a:pt x="48" y="308176"/>
                      </a:cubicBezTo>
                      <a:cubicBezTo>
                        <a:pt x="20391" y="228520"/>
                        <a:pt x="68708" y="108514"/>
                        <a:pt x="126255" y="57151"/>
                      </a:cubicBezTo>
                      <a:cubicBezTo>
                        <a:pt x="183802" y="5788"/>
                        <a:pt x="268336" y="0"/>
                        <a:pt x="345330" y="0"/>
                      </a:cubicBezTo>
                      <a:close/>
                    </a:path>
                  </a:pathLst>
                </a:custGeom>
                <a:solidFill>
                  <a:srgbClr val="4C31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82" name="Полилиния 281"/>
                <p:cNvSpPr/>
                <p:nvPr/>
              </p:nvSpPr>
              <p:spPr>
                <a:xfrm>
                  <a:off x="7305106" y="1278761"/>
                  <a:ext cx="478634" cy="777657"/>
                </a:xfrm>
                <a:custGeom>
                  <a:avLst/>
                  <a:gdLst>
                    <a:gd name="connsiteX0" fmla="*/ 0 w 459581"/>
                    <a:gd name="connsiteY0" fmla="*/ 7144 h 792956"/>
                    <a:gd name="connsiteX1" fmla="*/ 0 w 459581"/>
                    <a:gd name="connsiteY1" fmla="*/ 7144 h 792956"/>
                    <a:gd name="connsiteX2" fmla="*/ 226219 w 459581"/>
                    <a:gd name="connsiteY2" fmla="*/ 169069 h 792956"/>
                    <a:gd name="connsiteX3" fmla="*/ 230981 w 459581"/>
                    <a:gd name="connsiteY3" fmla="*/ 176213 h 792956"/>
                    <a:gd name="connsiteX4" fmla="*/ 240506 w 459581"/>
                    <a:gd name="connsiteY4" fmla="*/ 188119 h 792956"/>
                    <a:gd name="connsiteX5" fmla="*/ 352425 w 459581"/>
                    <a:gd name="connsiteY5" fmla="*/ 169069 h 792956"/>
                    <a:gd name="connsiteX6" fmla="*/ 397669 w 459581"/>
                    <a:gd name="connsiteY6" fmla="*/ 0 h 792956"/>
                    <a:gd name="connsiteX7" fmla="*/ 459581 w 459581"/>
                    <a:gd name="connsiteY7" fmla="*/ 250031 h 792956"/>
                    <a:gd name="connsiteX8" fmla="*/ 373856 w 459581"/>
                    <a:gd name="connsiteY8" fmla="*/ 792956 h 792956"/>
                    <a:gd name="connsiteX9" fmla="*/ 0 w 459581"/>
                    <a:gd name="connsiteY9" fmla="*/ 7144 h 792956"/>
                    <a:gd name="connsiteX0" fmla="*/ 0 w 492919"/>
                    <a:gd name="connsiteY0" fmla="*/ 19301 h 795588"/>
                    <a:gd name="connsiteX1" fmla="*/ 33338 w 492919"/>
                    <a:gd name="connsiteY1" fmla="*/ 9776 h 795588"/>
                    <a:gd name="connsiteX2" fmla="*/ 259557 w 492919"/>
                    <a:gd name="connsiteY2" fmla="*/ 171701 h 795588"/>
                    <a:gd name="connsiteX3" fmla="*/ 264319 w 492919"/>
                    <a:gd name="connsiteY3" fmla="*/ 178845 h 795588"/>
                    <a:gd name="connsiteX4" fmla="*/ 273844 w 492919"/>
                    <a:gd name="connsiteY4" fmla="*/ 190751 h 795588"/>
                    <a:gd name="connsiteX5" fmla="*/ 385763 w 492919"/>
                    <a:gd name="connsiteY5" fmla="*/ 171701 h 795588"/>
                    <a:gd name="connsiteX6" fmla="*/ 431007 w 492919"/>
                    <a:gd name="connsiteY6" fmla="*/ 2632 h 795588"/>
                    <a:gd name="connsiteX7" fmla="*/ 492919 w 492919"/>
                    <a:gd name="connsiteY7" fmla="*/ 252663 h 795588"/>
                    <a:gd name="connsiteX8" fmla="*/ 407194 w 492919"/>
                    <a:gd name="connsiteY8" fmla="*/ 795588 h 795588"/>
                    <a:gd name="connsiteX9" fmla="*/ 0 w 492919"/>
                    <a:gd name="connsiteY9" fmla="*/ 19301 h 795588"/>
                    <a:gd name="connsiteX0" fmla="*/ 0 w 492919"/>
                    <a:gd name="connsiteY0" fmla="*/ 19301 h 823390"/>
                    <a:gd name="connsiteX1" fmla="*/ 33338 w 492919"/>
                    <a:gd name="connsiteY1" fmla="*/ 9776 h 823390"/>
                    <a:gd name="connsiteX2" fmla="*/ 259557 w 492919"/>
                    <a:gd name="connsiteY2" fmla="*/ 171701 h 823390"/>
                    <a:gd name="connsiteX3" fmla="*/ 264319 w 492919"/>
                    <a:gd name="connsiteY3" fmla="*/ 178845 h 823390"/>
                    <a:gd name="connsiteX4" fmla="*/ 273844 w 492919"/>
                    <a:gd name="connsiteY4" fmla="*/ 190751 h 823390"/>
                    <a:gd name="connsiteX5" fmla="*/ 385763 w 492919"/>
                    <a:gd name="connsiteY5" fmla="*/ 171701 h 823390"/>
                    <a:gd name="connsiteX6" fmla="*/ 431007 w 492919"/>
                    <a:gd name="connsiteY6" fmla="*/ 2632 h 823390"/>
                    <a:gd name="connsiteX7" fmla="*/ 492919 w 492919"/>
                    <a:gd name="connsiteY7" fmla="*/ 252663 h 823390"/>
                    <a:gd name="connsiteX8" fmla="*/ 418770 w 492919"/>
                    <a:gd name="connsiteY8" fmla="*/ 823390 h 823390"/>
                    <a:gd name="connsiteX9" fmla="*/ 407194 w 492919"/>
                    <a:gd name="connsiteY9" fmla="*/ 795588 h 823390"/>
                    <a:gd name="connsiteX10" fmla="*/ 0 w 492919"/>
                    <a:gd name="connsiteY10" fmla="*/ 19301 h 823390"/>
                    <a:gd name="connsiteX0" fmla="*/ 0 w 523876"/>
                    <a:gd name="connsiteY0" fmla="*/ 40481 h 844570"/>
                    <a:gd name="connsiteX1" fmla="*/ 33338 w 523876"/>
                    <a:gd name="connsiteY1" fmla="*/ 30956 h 844570"/>
                    <a:gd name="connsiteX2" fmla="*/ 259557 w 523876"/>
                    <a:gd name="connsiteY2" fmla="*/ 192881 h 844570"/>
                    <a:gd name="connsiteX3" fmla="*/ 264319 w 523876"/>
                    <a:gd name="connsiteY3" fmla="*/ 200025 h 844570"/>
                    <a:gd name="connsiteX4" fmla="*/ 273844 w 523876"/>
                    <a:gd name="connsiteY4" fmla="*/ 211931 h 844570"/>
                    <a:gd name="connsiteX5" fmla="*/ 385763 w 523876"/>
                    <a:gd name="connsiteY5" fmla="*/ 192881 h 844570"/>
                    <a:gd name="connsiteX6" fmla="*/ 523876 w 523876"/>
                    <a:gd name="connsiteY6" fmla="*/ 0 h 844570"/>
                    <a:gd name="connsiteX7" fmla="*/ 492919 w 523876"/>
                    <a:gd name="connsiteY7" fmla="*/ 273843 h 844570"/>
                    <a:gd name="connsiteX8" fmla="*/ 418770 w 523876"/>
                    <a:gd name="connsiteY8" fmla="*/ 844570 h 844570"/>
                    <a:gd name="connsiteX9" fmla="*/ 407194 w 523876"/>
                    <a:gd name="connsiteY9" fmla="*/ 816768 h 844570"/>
                    <a:gd name="connsiteX10" fmla="*/ 0 w 523876"/>
                    <a:gd name="connsiteY10" fmla="*/ 40481 h 844570"/>
                    <a:gd name="connsiteX0" fmla="*/ 14545 w 505084"/>
                    <a:gd name="connsiteY0" fmla="*/ 102393 h 844570"/>
                    <a:gd name="connsiteX1" fmla="*/ 14546 w 505084"/>
                    <a:gd name="connsiteY1" fmla="*/ 30956 h 844570"/>
                    <a:gd name="connsiteX2" fmla="*/ 240765 w 505084"/>
                    <a:gd name="connsiteY2" fmla="*/ 192881 h 844570"/>
                    <a:gd name="connsiteX3" fmla="*/ 245527 w 505084"/>
                    <a:gd name="connsiteY3" fmla="*/ 200025 h 844570"/>
                    <a:gd name="connsiteX4" fmla="*/ 255052 w 505084"/>
                    <a:gd name="connsiteY4" fmla="*/ 211931 h 844570"/>
                    <a:gd name="connsiteX5" fmla="*/ 366971 w 505084"/>
                    <a:gd name="connsiteY5" fmla="*/ 192881 h 844570"/>
                    <a:gd name="connsiteX6" fmla="*/ 505084 w 505084"/>
                    <a:gd name="connsiteY6" fmla="*/ 0 h 844570"/>
                    <a:gd name="connsiteX7" fmla="*/ 474127 w 505084"/>
                    <a:gd name="connsiteY7" fmla="*/ 273843 h 844570"/>
                    <a:gd name="connsiteX8" fmla="*/ 399978 w 505084"/>
                    <a:gd name="connsiteY8" fmla="*/ 844570 h 844570"/>
                    <a:gd name="connsiteX9" fmla="*/ 388402 w 505084"/>
                    <a:gd name="connsiteY9" fmla="*/ 816768 h 844570"/>
                    <a:gd name="connsiteX10" fmla="*/ 14545 w 505084"/>
                    <a:gd name="connsiteY10" fmla="*/ 102393 h 844570"/>
                    <a:gd name="connsiteX0" fmla="*/ 0 w 490539"/>
                    <a:gd name="connsiteY0" fmla="*/ 102393 h 844570"/>
                    <a:gd name="connsiteX1" fmla="*/ 54770 w 490539"/>
                    <a:gd name="connsiteY1" fmla="*/ 97631 h 844570"/>
                    <a:gd name="connsiteX2" fmla="*/ 226220 w 490539"/>
                    <a:gd name="connsiteY2" fmla="*/ 192881 h 844570"/>
                    <a:gd name="connsiteX3" fmla="*/ 230982 w 490539"/>
                    <a:gd name="connsiteY3" fmla="*/ 200025 h 844570"/>
                    <a:gd name="connsiteX4" fmla="*/ 240507 w 490539"/>
                    <a:gd name="connsiteY4" fmla="*/ 211931 h 844570"/>
                    <a:gd name="connsiteX5" fmla="*/ 352426 w 490539"/>
                    <a:gd name="connsiteY5" fmla="*/ 192881 h 844570"/>
                    <a:gd name="connsiteX6" fmla="*/ 490539 w 490539"/>
                    <a:gd name="connsiteY6" fmla="*/ 0 h 844570"/>
                    <a:gd name="connsiteX7" fmla="*/ 459582 w 490539"/>
                    <a:gd name="connsiteY7" fmla="*/ 273843 h 844570"/>
                    <a:gd name="connsiteX8" fmla="*/ 385433 w 490539"/>
                    <a:gd name="connsiteY8" fmla="*/ 844570 h 844570"/>
                    <a:gd name="connsiteX9" fmla="*/ 373857 w 490539"/>
                    <a:gd name="connsiteY9" fmla="*/ 816768 h 844570"/>
                    <a:gd name="connsiteX10" fmla="*/ 0 w 490539"/>
                    <a:gd name="connsiteY10" fmla="*/ 102393 h 844570"/>
                    <a:gd name="connsiteX0" fmla="*/ 0 w 478633"/>
                    <a:gd name="connsiteY0" fmla="*/ 10985 h 753162"/>
                    <a:gd name="connsiteX1" fmla="*/ 54770 w 478633"/>
                    <a:gd name="connsiteY1" fmla="*/ 6223 h 753162"/>
                    <a:gd name="connsiteX2" fmla="*/ 226220 w 478633"/>
                    <a:gd name="connsiteY2" fmla="*/ 101473 h 753162"/>
                    <a:gd name="connsiteX3" fmla="*/ 230982 w 478633"/>
                    <a:gd name="connsiteY3" fmla="*/ 108617 h 753162"/>
                    <a:gd name="connsiteX4" fmla="*/ 240507 w 478633"/>
                    <a:gd name="connsiteY4" fmla="*/ 120523 h 753162"/>
                    <a:gd name="connsiteX5" fmla="*/ 352426 w 478633"/>
                    <a:gd name="connsiteY5" fmla="*/ 101473 h 753162"/>
                    <a:gd name="connsiteX6" fmla="*/ 478633 w 478633"/>
                    <a:gd name="connsiteY6" fmla="*/ 3842 h 753162"/>
                    <a:gd name="connsiteX7" fmla="*/ 459582 w 478633"/>
                    <a:gd name="connsiteY7" fmla="*/ 182435 h 753162"/>
                    <a:gd name="connsiteX8" fmla="*/ 385433 w 478633"/>
                    <a:gd name="connsiteY8" fmla="*/ 753162 h 753162"/>
                    <a:gd name="connsiteX9" fmla="*/ 373857 w 478633"/>
                    <a:gd name="connsiteY9" fmla="*/ 725360 h 753162"/>
                    <a:gd name="connsiteX10" fmla="*/ 0 w 478633"/>
                    <a:gd name="connsiteY10" fmla="*/ 10985 h 75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8633" h="753162">
                      <a:moveTo>
                        <a:pt x="0" y="10985"/>
                      </a:moveTo>
                      <a:cubicBezTo>
                        <a:pt x="11113" y="7810"/>
                        <a:pt x="17067" y="-8858"/>
                        <a:pt x="54770" y="6223"/>
                      </a:cubicBezTo>
                      <a:cubicBezTo>
                        <a:pt x="92473" y="21304"/>
                        <a:pt x="196851" y="84407"/>
                        <a:pt x="226220" y="101473"/>
                      </a:cubicBezTo>
                      <a:cubicBezTo>
                        <a:pt x="255589" y="118539"/>
                        <a:pt x="229150" y="106418"/>
                        <a:pt x="230982" y="108617"/>
                      </a:cubicBezTo>
                      <a:cubicBezTo>
                        <a:pt x="241481" y="121216"/>
                        <a:pt x="235513" y="110534"/>
                        <a:pt x="240507" y="120523"/>
                      </a:cubicBezTo>
                      <a:lnTo>
                        <a:pt x="352426" y="101473"/>
                      </a:lnTo>
                      <a:lnTo>
                        <a:pt x="478633" y="3842"/>
                      </a:lnTo>
                      <a:lnTo>
                        <a:pt x="459582" y="182435"/>
                      </a:lnTo>
                      <a:cubicBezTo>
                        <a:pt x="430897" y="358390"/>
                        <a:pt x="414118" y="577207"/>
                        <a:pt x="385433" y="753162"/>
                      </a:cubicBezTo>
                      <a:lnTo>
                        <a:pt x="373857" y="725360"/>
                      </a:lnTo>
                      <a:lnTo>
                        <a:pt x="0" y="1098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83" name="Полилиния 282"/>
                <p:cNvSpPr/>
                <p:nvPr/>
              </p:nvSpPr>
              <p:spPr>
                <a:xfrm>
                  <a:off x="7309957" y="1233861"/>
                  <a:ext cx="466726" cy="397674"/>
                </a:xfrm>
                <a:custGeom>
                  <a:avLst/>
                  <a:gdLst>
                    <a:gd name="connsiteX0" fmla="*/ 52387 w 528637"/>
                    <a:gd name="connsiteY0" fmla="*/ 0 h 442913"/>
                    <a:gd name="connsiteX1" fmla="*/ 214312 w 528637"/>
                    <a:gd name="connsiteY1" fmla="*/ 176213 h 442913"/>
                    <a:gd name="connsiteX2" fmla="*/ 400050 w 528637"/>
                    <a:gd name="connsiteY2" fmla="*/ 180975 h 442913"/>
                    <a:gd name="connsiteX3" fmla="*/ 433387 w 528637"/>
                    <a:gd name="connsiteY3" fmla="*/ 38100 h 442913"/>
                    <a:gd name="connsiteX4" fmla="*/ 528637 w 528637"/>
                    <a:gd name="connsiteY4" fmla="*/ 280988 h 442913"/>
                    <a:gd name="connsiteX5" fmla="*/ 466725 w 528637"/>
                    <a:gd name="connsiteY5" fmla="*/ 442913 h 442913"/>
                    <a:gd name="connsiteX6" fmla="*/ 376237 w 528637"/>
                    <a:gd name="connsiteY6" fmla="*/ 190500 h 442913"/>
                    <a:gd name="connsiteX7" fmla="*/ 233362 w 528637"/>
                    <a:gd name="connsiteY7" fmla="*/ 395288 h 442913"/>
                    <a:gd name="connsiteX8" fmla="*/ 0 w 528637"/>
                    <a:gd name="connsiteY8" fmla="*/ 47625 h 442913"/>
                    <a:gd name="connsiteX9" fmla="*/ 52387 w 528637"/>
                    <a:gd name="connsiteY9" fmla="*/ 0 h 442913"/>
                    <a:gd name="connsiteX0" fmla="*/ 52387 w 528637"/>
                    <a:gd name="connsiteY0" fmla="*/ 0 h 442913"/>
                    <a:gd name="connsiteX1" fmla="*/ 214312 w 528637"/>
                    <a:gd name="connsiteY1" fmla="*/ 176213 h 442913"/>
                    <a:gd name="connsiteX2" fmla="*/ 400050 w 528637"/>
                    <a:gd name="connsiteY2" fmla="*/ 180975 h 442913"/>
                    <a:gd name="connsiteX3" fmla="*/ 433387 w 528637"/>
                    <a:gd name="connsiteY3" fmla="*/ 38100 h 442913"/>
                    <a:gd name="connsiteX4" fmla="*/ 528637 w 528637"/>
                    <a:gd name="connsiteY4" fmla="*/ 280988 h 442913"/>
                    <a:gd name="connsiteX5" fmla="*/ 466725 w 528637"/>
                    <a:gd name="connsiteY5" fmla="*/ 442913 h 442913"/>
                    <a:gd name="connsiteX6" fmla="*/ 376237 w 528637"/>
                    <a:gd name="connsiteY6" fmla="*/ 190500 h 442913"/>
                    <a:gd name="connsiteX7" fmla="*/ 202406 w 528637"/>
                    <a:gd name="connsiteY7" fmla="*/ 402432 h 442913"/>
                    <a:gd name="connsiteX8" fmla="*/ 0 w 528637"/>
                    <a:gd name="connsiteY8" fmla="*/ 47625 h 442913"/>
                    <a:gd name="connsiteX9" fmla="*/ 52387 w 528637"/>
                    <a:gd name="connsiteY9" fmla="*/ 0 h 442913"/>
                    <a:gd name="connsiteX0" fmla="*/ 52387 w 528637"/>
                    <a:gd name="connsiteY0" fmla="*/ 0 h 442913"/>
                    <a:gd name="connsiteX1" fmla="*/ 233362 w 528637"/>
                    <a:gd name="connsiteY1" fmla="*/ 166688 h 442913"/>
                    <a:gd name="connsiteX2" fmla="*/ 400050 w 528637"/>
                    <a:gd name="connsiteY2" fmla="*/ 180975 h 442913"/>
                    <a:gd name="connsiteX3" fmla="*/ 433387 w 528637"/>
                    <a:gd name="connsiteY3" fmla="*/ 38100 h 442913"/>
                    <a:gd name="connsiteX4" fmla="*/ 528637 w 528637"/>
                    <a:gd name="connsiteY4" fmla="*/ 280988 h 442913"/>
                    <a:gd name="connsiteX5" fmla="*/ 466725 w 528637"/>
                    <a:gd name="connsiteY5" fmla="*/ 442913 h 442913"/>
                    <a:gd name="connsiteX6" fmla="*/ 376237 w 528637"/>
                    <a:gd name="connsiteY6" fmla="*/ 190500 h 442913"/>
                    <a:gd name="connsiteX7" fmla="*/ 202406 w 528637"/>
                    <a:gd name="connsiteY7" fmla="*/ 402432 h 442913"/>
                    <a:gd name="connsiteX8" fmla="*/ 0 w 528637"/>
                    <a:gd name="connsiteY8" fmla="*/ 47625 h 442913"/>
                    <a:gd name="connsiteX9" fmla="*/ 52387 w 528637"/>
                    <a:gd name="connsiteY9" fmla="*/ 0 h 442913"/>
                    <a:gd name="connsiteX0" fmla="*/ 52387 w 528637"/>
                    <a:gd name="connsiteY0" fmla="*/ 0 h 442913"/>
                    <a:gd name="connsiteX1" fmla="*/ 233362 w 528637"/>
                    <a:gd name="connsiteY1" fmla="*/ 166688 h 442913"/>
                    <a:gd name="connsiteX2" fmla="*/ 317184 w 528637"/>
                    <a:gd name="connsiteY2" fmla="*/ 152026 h 442913"/>
                    <a:gd name="connsiteX3" fmla="*/ 400050 w 528637"/>
                    <a:gd name="connsiteY3" fmla="*/ 180975 h 442913"/>
                    <a:gd name="connsiteX4" fmla="*/ 433387 w 528637"/>
                    <a:gd name="connsiteY4" fmla="*/ 38100 h 442913"/>
                    <a:gd name="connsiteX5" fmla="*/ 528637 w 528637"/>
                    <a:gd name="connsiteY5" fmla="*/ 280988 h 442913"/>
                    <a:gd name="connsiteX6" fmla="*/ 466725 w 528637"/>
                    <a:gd name="connsiteY6" fmla="*/ 442913 h 442913"/>
                    <a:gd name="connsiteX7" fmla="*/ 376237 w 528637"/>
                    <a:gd name="connsiteY7" fmla="*/ 190500 h 442913"/>
                    <a:gd name="connsiteX8" fmla="*/ 202406 w 528637"/>
                    <a:gd name="connsiteY8" fmla="*/ 402432 h 442913"/>
                    <a:gd name="connsiteX9" fmla="*/ 0 w 528637"/>
                    <a:gd name="connsiteY9" fmla="*/ 47625 h 442913"/>
                    <a:gd name="connsiteX10" fmla="*/ 52387 w 528637"/>
                    <a:gd name="connsiteY10" fmla="*/ 0 h 442913"/>
                    <a:gd name="connsiteX0" fmla="*/ 52387 w 528637"/>
                    <a:gd name="connsiteY0" fmla="*/ 0 h 442913"/>
                    <a:gd name="connsiteX1" fmla="*/ 233362 w 528637"/>
                    <a:gd name="connsiteY1" fmla="*/ 166688 h 442913"/>
                    <a:gd name="connsiteX2" fmla="*/ 317184 w 528637"/>
                    <a:gd name="connsiteY2" fmla="*/ 152026 h 442913"/>
                    <a:gd name="connsiteX3" fmla="*/ 390525 w 528637"/>
                    <a:gd name="connsiteY3" fmla="*/ 121444 h 442913"/>
                    <a:gd name="connsiteX4" fmla="*/ 433387 w 528637"/>
                    <a:gd name="connsiteY4" fmla="*/ 38100 h 442913"/>
                    <a:gd name="connsiteX5" fmla="*/ 528637 w 528637"/>
                    <a:gd name="connsiteY5" fmla="*/ 280988 h 442913"/>
                    <a:gd name="connsiteX6" fmla="*/ 466725 w 528637"/>
                    <a:gd name="connsiteY6" fmla="*/ 442913 h 442913"/>
                    <a:gd name="connsiteX7" fmla="*/ 376237 w 528637"/>
                    <a:gd name="connsiteY7" fmla="*/ 190500 h 442913"/>
                    <a:gd name="connsiteX8" fmla="*/ 202406 w 528637"/>
                    <a:gd name="connsiteY8" fmla="*/ 402432 h 442913"/>
                    <a:gd name="connsiteX9" fmla="*/ 0 w 528637"/>
                    <a:gd name="connsiteY9" fmla="*/ 47625 h 442913"/>
                    <a:gd name="connsiteX10" fmla="*/ 52387 w 528637"/>
                    <a:gd name="connsiteY10" fmla="*/ 0 h 442913"/>
                    <a:gd name="connsiteX0" fmla="*/ 52387 w 528637"/>
                    <a:gd name="connsiteY0" fmla="*/ 0 h 442913"/>
                    <a:gd name="connsiteX1" fmla="*/ 233362 w 528637"/>
                    <a:gd name="connsiteY1" fmla="*/ 166688 h 442913"/>
                    <a:gd name="connsiteX2" fmla="*/ 317184 w 528637"/>
                    <a:gd name="connsiteY2" fmla="*/ 152026 h 442913"/>
                    <a:gd name="connsiteX3" fmla="*/ 390525 w 528637"/>
                    <a:gd name="connsiteY3" fmla="*/ 121444 h 442913"/>
                    <a:gd name="connsiteX4" fmla="*/ 466725 w 528637"/>
                    <a:gd name="connsiteY4" fmla="*/ 42862 h 442913"/>
                    <a:gd name="connsiteX5" fmla="*/ 528637 w 528637"/>
                    <a:gd name="connsiteY5" fmla="*/ 280988 h 442913"/>
                    <a:gd name="connsiteX6" fmla="*/ 466725 w 528637"/>
                    <a:gd name="connsiteY6" fmla="*/ 442913 h 442913"/>
                    <a:gd name="connsiteX7" fmla="*/ 376237 w 528637"/>
                    <a:gd name="connsiteY7" fmla="*/ 190500 h 442913"/>
                    <a:gd name="connsiteX8" fmla="*/ 202406 w 528637"/>
                    <a:gd name="connsiteY8" fmla="*/ 402432 h 442913"/>
                    <a:gd name="connsiteX9" fmla="*/ 0 w 528637"/>
                    <a:gd name="connsiteY9" fmla="*/ 47625 h 442913"/>
                    <a:gd name="connsiteX10" fmla="*/ 52387 w 528637"/>
                    <a:gd name="connsiteY10" fmla="*/ 0 h 442913"/>
                    <a:gd name="connsiteX0" fmla="*/ 52387 w 466725"/>
                    <a:gd name="connsiteY0" fmla="*/ 0 h 442913"/>
                    <a:gd name="connsiteX1" fmla="*/ 233362 w 466725"/>
                    <a:gd name="connsiteY1" fmla="*/ 166688 h 442913"/>
                    <a:gd name="connsiteX2" fmla="*/ 317184 w 466725"/>
                    <a:gd name="connsiteY2" fmla="*/ 152026 h 442913"/>
                    <a:gd name="connsiteX3" fmla="*/ 390525 w 466725"/>
                    <a:gd name="connsiteY3" fmla="*/ 121444 h 442913"/>
                    <a:gd name="connsiteX4" fmla="*/ 466725 w 466725"/>
                    <a:gd name="connsiteY4" fmla="*/ 42862 h 442913"/>
                    <a:gd name="connsiteX5" fmla="*/ 454818 w 466725"/>
                    <a:gd name="connsiteY5" fmla="*/ 283370 h 442913"/>
                    <a:gd name="connsiteX6" fmla="*/ 466725 w 466725"/>
                    <a:gd name="connsiteY6" fmla="*/ 442913 h 442913"/>
                    <a:gd name="connsiteX7" fmla="*/ 376237 w 466725"/>
                    <a:gd name="connsiteY7" fmla="*/ 190500 h 442913"/>
                    <a:gd name="connsiteX8" fmla="*/ 202406 w 466725"/>
                    <a:gd name="connsiteY8" fmla="*/ 402432 h 442913"/>
                    <a:gd name="connsiteX9" fmla="*/ 0 w 466725"/>
                    <a:gd name="connsiteY9" fmla="*/ 47625 h 442913"/>
                    <a:gd name="connsiteX10" fmla="*/ 52387 w 466725"/>
                    <a:gd name="connsiteY10" fmla="*/ 0 h 442913"/>
                    <a:gd name="connsiteX0" fmla="*/ 52387 w 466725"/>
                    <a:gd name="connsiteY0" fmla="*/ 0 h 402432"/>
                    <a:gd name="connsiteX1" fmla="*/ 233362 w 466725"/>
                    <a:gd name="connsiteY1" fmla="*/ 166688 h 402432"/>
                    <a:gd name="connsiteX2" fmla="*/ 317184 w 466725"/>
                    <a:gd name="connsiteY2" fmla="*/ 152026 h 402432"/>
                    <a:gd name="connsiteX3" fmla="*/ 390525 w 466725"/>
                    <a:gd name="connsiteY3" fmla="*/ 121444 h 402432"/>
                    <a:gd name="connsiteX4" fmla="*/ 466725 w 466725"/>
                    <a:gd name="connsiteY4" fmla="*/ 42862 h 402432"/>
                    <a:gd name="connsiteX5" fmla="*/ 454818 w 466725"/>
                    <a:gd name="connsiteY5" fmla="*/ 283370 h 402432"/>
                    <a:gd name="connsiteX6" fmla="*/ 423863 w 466725"/>
                    <a:gd name="connsiteY6" fmla="*/ 402432 h 402432"/>
                    <a:gd name="connsiteX7" fmla="*/ 376237 w 466725"/>
                    <a:gd name="connsiteY7" fmla="*/ 190500 h 402432"/>
                    <a:gd name="connsiteX8" fmla="*/ 202406 w 466725"/>
                    <a:gd name="connsiteY8" fmla="*/ 402432 h 402432"/>
                    <a:gd name="connsiteX9" fmla="*/ 0 w 466725"/>
                    <a:gd name="connsiteY9" fmla="*/ 47625 h 402432"/>
                    <a:gd name="connsiteX10" fmla="*/ 52387 w 466725"/>
                    <a:gd name="connsiteY10" fmla="*/ 0 h 402432"/>
                    <a:gd name="connsiteX0" fmla="*/ 52387 w 466725"/>
                    <a:gd name="connsiteY0" fmla="*/ 0 h 402432"/>
                    <a:gd name="connsiteX1" fmla="*/ 233362 w 466725"/>
                    <a:gd name="connsiteY1" fmla="*/ 166688 h 402432"/>
                    <a:gd name="connsiteX2" fmla="*/ 317184 w 466725"/>
                    <a:gd name="connsiteY2" fmla="*/ 152026 h 402432"/>
                    <a:gd name="connsiteX3" fmla="*/ 390525 w 466725"/>
                    <a:gd name="connsiteY3" fmla="*/ 121444 h 402432"/>
                    <a:gd name="connsiteX4" fmla="*/ 466725 w 466725"/>
                    <a:gd name="connsiteY4" fmla="*/ 42862 h 402432"/>
                    <a:gd name="connsiteX5" fmla="*/ 454818 w 466725"/>
                    <a:gd name="connsiteY5" fmla="*/ 283370 h 402432"/>
                    <a:gd name="connsiteX6" fmla="*/ 423863 w 466725"/>
                    <a:gd name="connsiteY6" fmla="*/ 402432 h 402432"/>
                    <a:gd name="connsiteX7" fmla="*/ 340518 w 466725"/>
                    <a:gd name="connsiteY7" fmla="*/ 197644 h 402432"/>
                    <a:gd name="connsiteX8" fmla="*/ 202406 w 466725"/>
                    <a:gd name="connsiteY8" fmla="*/ 402432 h 402432"/>
                    <a:gd name="connsiteX9" fmla="*/ 0 w 466725"/>
                    <a:gd name="connsiteY9" fmla="*/ 47625 h 402432"/>
                    <a:gd name="connsiteX10" fmla="*/ 52387 w 466725"/>
                    <a:gd name="connsiteY10" fmla="*/ 0 h 402432"/>
                    <a:gd name="connsiteX0" fmla="*/ 52387 w 466725"/>
                    <a:gd name="connsiteY0" fmla="*/ 0 h 402432"/>
                    <a:gd name="connsiteX1" fmla="*/ 233362 w 466725"/>
                    <a:gd name="connsiteY1" fmla="*/ 166688 h 402432"/>
                    <a:gd name="connsiteX2" fmla="*/ 317184 w 466725"/>
                    <a:gd name="connsiteY2" fmla="*/ 152026 h 402432"/>
                    <a:gd name="connsiteX3" fmla="*/ 390525 w 466725"/>
                    <a:gd name="connsiteY3" fmla="*/ 121444 h 402432"/>
                    <a:gd name="connsiteX4" fmla="*/ 466725 w 466725"/>
                    <a:gd name="connsiteY4" fmla="*/ 42862 h 402432"/>
                    <a:gd name="connsiteX5" fmla="*/ 450056 w 466725"/>
                    <a:gd name="connsiteY5" fmla="*/ 283370 h 402432"/>
                    <a:gd name="connsiteX6" fmla="*/ 423863 w 466725"/>
                    <a:gd name="connsiteY6" fmla="*/ 402432 h 402432"/>
                    <a:gd name="connsiteX7" fmla="*/ 340518 w 466725"/>
                    <a:gd name="connsiteY7" fmla="*/ 197644 h 402432"/>
                    <a:gd name="connsiteX8" fmla="*/ 202406 w 466725"/>
                    <a:gd name="connsiteY8" fmla="*/ 402432 h 402432"/>
                    <a:gd name="connsiteX9" fmla="*/ 0 w 466725"/>
                    <a:gd name="connsiteY9" fmla="*/ 47625 h 402432"/>
                    <a:gd name="connsiteX10" fmla="*/ 52387 w 466725"/>
                    <a:gd name="connsiteY10" fmla="*/ 0 h 402432"/>
                    <a:gd name="connsiteX0" fmla="*/ 52387 w 466725"/>
                    <a:gd name="connsiteY0" fmla="*/ 0 h 402432"/>
                    <a:gd name="connsiteX1" fmla="*/ 233362 w 466725"/>
                    <a:gd name="connsiteY1" fmla="*/ 166688 h 402432"/>
                    <a:gd name="connsiteX2" fmla="*/ 317184 w 466725"/>
                    <a:gd name="connsiteY2" fmla="*/ 152026 h 402432"/>
                    <a:gd name="connsiteX3" fmla="*/ 390525 w 466725"/>
                    <a:gd name="connsiteY3" fmla="*/ 121444 h 402432"/>
                    <a:gd name="connsiteX4" fmla="*/ 466725 w 466725"/>
                    <a:gd name="connsiteY4" fmla="*/ 42862 h 402432"/>
                    <a:gd name="connsiteX5" fmla="*/ 450056 w 466725"/>
                    <a:gd name="connsiteY5" fmla="*/ 283370 h 402432"/>
                    <a:gd name="connsiteX6" fmla="*/ 423863 w 466725"/>
                    <a:gd name="connsiteY6" fmla="*/ 402432 h 402432"/>
                    <a:gd name="connsiteX7" fmla="*/ 340518 w 466725"/>
                    <a:gd name="connsiteY7" fmla="*/ 197644 h 402432"/>
                    <a:gd name="connsiteX8" fmla="*/ 202406 w 466725"/>
                    <a:gd name="connsiteY8" fmla="*/ 402432 h 402432"/>
                    <a:gd name="connsiteX9" fmla="*/ 0 w 466725"/>
                    <a:gd name="connsiteY9" fmla="*/ 61913 h 402432"/>
                    <a:gd name="connsiteX10" fmla="*/ 52387 w 466725"/>
                    <a:gd name="connsiteY10" fmla="*/ 0 h 402432"/>
                    <a:gd name="connsiteX0" fmla="*/ 59531 w 466725"/>
                    <a:gd name="connsiteY0" fmla="*/ 0 h 397670"/>
                    <a:gd name="connsiteX1" fmla="*/ 233362 w 466725"/>
                    <a:gd name="connsiteY1" fmla="*/ 161926 h 397670"/>
                    <a:gd name="connsiteX2" fmla="*/ 317184 w 466725"/>
                    <a:gd name="connsiteY2" fmla="*/ 147264 h 397670"/>
                    <a:gd name="connsiteX3" fmla="*/ 390525 w 466725"/>
                    <a:gd name="connsiteY3" fmla="*/ 116682 h 397670"/>
                    <a:gd name="connsiteX4" fmla="*/ 466725 w 466725"/>
                    <a:gd name="connsiteY4" fmla="*/ 38100 h 397670"/>
                    <a:gd name="connsiteX5" fmla="*/ 450056 w 466725"/>
                    <a:gd name="connsiteY5" fmla="*/ 278608 h 397670"/>
                    <a:gd name="connsiteX6" fmla="*/ 423863 w 466725"/>
                    <a:gd name="connsiteY6" fmla="*/ 397670 h 397670"/>
                    <a:gd name="connsiteX7" fmla="*/ 340518 w 466725"/>
                    <a:gd name="connsiteY7" fmla="*/ 192882 h 397670"/>
                    <a:gd name="connsiteX8" fmla="*/ 202406 w 466725"/>
                    <a:gd name="connsiteY8" fmla="*/ 397670 h 397670"/>
                    <a:gd name="connsiteX9" fmla="*/ 0 w 466725"/>
                    <a:gd name="connsiteY9" fmla="*/ 57151 h 397670"/>
                    <a:gd name="connsiteX10" fmla="*/ 59531 w 466725"/>
                    <a:gd name="connsiteY10" fmla="*/ 0 h 397670"/>
                    <a:gd name="connsiteX0" fmla="*/ 59531 w 466725"/>
                    <a:gd name="connsiteY0" fmla="*/ 0 h 397670"/>
                    <a:gd name="connsiteX1" fmla="*/ 233362 w 466725"/>
                    <a:gd name="connsiteY1" fmla="*/ 161926 h 397670"/>
                    <a:gd name="connsiteX2" fmla="*/ 317184 w 466725"/>
                    <a:gd name="connsiteY2" fmla="*/ 147264 h 397670"/>
                    <a:gd name="connsiteX3" fmla="*/ 390525 w 466725"/>
                    <a:gd name="connsiteY3" fmla="*/ 116682 h 397670"/>
                    <a:gd name="connsiteX4" fmla="*/ 466725 w 466725"/>
                    <a:gd name="connsiteY4" fmla="*/ 38100 h 397670"/>
                    <a:gd name="connsiteX5" fmla="*/ 450056 w 466725"/>
                    <a:gd name="connsiteY5" fmla="*/ 278608 h 397670"/>
                    <a:gd name="connsiteX6" fmla="*/ 423863 w 466725"/>
                    <a:gd name="connsiteY6" fmla="*/ 397670 h 397670"/>
                    <a:gd name="connsiteX7" fmla="*/ 340518 w 466725"/>
                    <a:gd name="connsiteY7" fmla="*/ 192882 h 397670"/>
                    <a:gd name="connsiteX8" fmla="*/ 202406 w 466725"/>
                    <a:gd name="connsiteY8" fmla="*/ 397670 h 397670"/>
                    <a:gd name="connsiteX9" fmla="*/ 0 w 466725"/>
                    <a:gd name="connsiteY9" fmla="*/ 57151 h 397670"/>
                    <a:gd name="connsiteX10" fmla="*/ 17146 w 466725"/>
                    <a:gd name="connsiteY10" fmla="*/ 11532 h 397670"/>
                    <a:gd name="connsiteX11" fmla="*/ 59531 w 466725"/>
                    <a:gd name="connsiteY11" fmla="*/ 0 h 39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725" h="397670">
                      <a:moveTo>
                        <a:pt x="59531" y="0"/>
                      </a:moveTo>
                      <a:lnTo>
                        <a:pt x="233362" y="161926"/>
                      </a:lnTo>
                      <a:cubicBezTo>
                        <a:pt x="258921" y="164182"/>
                        <a:pt x="291625" y="145008"/>
                        <a:pt x="317184" y="147264"/>
                      </a:cubicBezTo>
                      <a:lnTo>
                        <a:pt x="390525" y="116682"/>
                      </a:lnTo>
                      <a:lnTo>
                        <a:pt x="466725" y="38100"/>
                      </a:lnTo>
                      <a:lnTo>
                        <a:pt x="450056" y="278608"/>
                      </a:lnTo>
                      <a:lnTo>
                        <a:pt x="423863" y="397670"/>
                      </a:lnTo>
                      <a:lnTo>
                        <a:pt x="340518" y="192882"/>
                      </a:lnTo>
                      <a:lnTo>
                        <a:pt x="202406" y="397670"/>
                      </a:lnTo>
                      <a:lnTo>
                        <a:pt x="0" y="57151"/>
                      </a:lnTo>
                      <a:cubicBezTo>
                        <a:pt x="8097" y="47501"/>
                        <a:pt x="9049" y="21182"/>
                        <a:pt x="17146" y="11532"/>
                      </a:cubicBezTo>
                      <a:lnTo>
                        <a:pt x="59531" y="0"/>
                      </a:lnTo>
                      <a:close/>
                    </a:path>
                  </a:pathLst>
                </a:custGeom>
                <a:solidFill>
                  <a:schemeClr val="bg1"/>
                </a:solidFill>
                <a:ln w="6350">
                  <a:solidFill>
                    <a:srgbClr val="D2D2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284" name="Группа 283"/>
                <p:cNvGrpSpPr/>
                <p:nvPr/>
              </p:nvGrpSpPr>
              <p:grpSpPr>
                <a:xfrm rot="20434402" flipH="1">
                  <a:off x="8171975" y="2892189"/>
                  <a:ext cx="237318" cy="509044"/>
                  <a:chOff x="6790199" y="2987457"/>
                  <a:chExt cx="261050" cy="559954"/>
                </a:xfrm>
              </p:grpSpPr>
              <p:sp>
                <p:nvSpPr>
                  <p:cNvPr id="312" name="Скругленный прямоугольник 311"/>
                  <p:cNvSpPr/>
                  <p:nvPr/>
                </p:nvSpPr>
                <p:spPr>
                  <a:xfrm>
                    <a:off x="6834686" y="2987457"/>
                    <a:ext cx="121413" cy="243816"/>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313" name="Группа 312"/>
                  <p:cNvGrpSpPr/>
                  <p:nvPr/>
                </p:nvGrpSpPr>
                <p:grpSpPr>
                  <a:xfrm>
                    <a:off x="6790199" y="3150824"/>
                    <a:ext cx="261050" cy="396587"/>
                    <a:chOff x="6789982" y="3150826"/>
                    <a:chExt cx="261271" cy="396552"/>
                  </a:xfrm>
                </p:grpSpPr>
                <p:sp>
                  <p:nvSpPr>
                    <p:cNvPr id="314" name="Скругленный прямоугольник 313"/>
                    <p:cNvSpPr/>
                    <p:nvPr/>
                  </p:nvSpPr>
                  <p:spPr>
                    <a:xfrm>
                      <a:off x="6789982" y="3153032"/>
                      <a:ext cx="226600" cy="254505"/>
                    </a:xfrm>
                    <a:prstGeom prst="roundRect">
                      <a:avLst>
                        <a:gd name="adj" fmla="val 34238"/>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15" name="Скругленный прямоугольник 314"/>
                    <p:cNvSpPr/>
                    <p:nvPr/>
                  </p:nvSpPr>
                  <p:spPr>
                    <a:xfrm>
                      <a:off x="6794978" y="3220050"/>
                      <a:ext cx="44509" cy="254505"/>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16" name="Скругленный прямоугольник 315"/>
                    <p:cNvSpPr/>
                    <p:nvPr/>
                  </p:nvSpPr>
                  <p:spPr>
                    <a:xfrm>
                      <a:off x="6847711" y="3247309"/>
                      <a:ext cx="44509" cy="254505"/>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17" name="Скругленный прямоугольник 316"/>
                    <p:cNvSpPr/>
                    <p:nvPr/>
                  </p:nvSpPr>
                  <p:spPr>
                    <a:xfrm>
                      <a:off x="6899334" y="3292873"/>
                      <a:ext cx="44509" cy="254505"/>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18" name="Скругленный прямоугольник 317"/>
                    <p:cNvSpPr/>
                    <p:nvPr/>
                  </p:nvSpPr>
                  <p:spPr>
                    <a:xfrm>
                      <a:off x="6952316" y="3270633"/>
                      <a:ext cx="44510" cy="254507"/>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19" name="Скругленный прямоугольник 318"/>
                    <p:cNvSpPr/>
                    <p:nvPr/>
                  </p:nvSpPr>
                  <p:spPr>
                    <a:xfrm rot="19864124">
                      <a:off x="7005534" y="3150826"/>
                      <a:ext cx="45719" cy="254507"/>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sp>
              <p:nvSpPr>
                <p:cNvPr id="285" name="Полилиния 284"/>
                <p:cNvSpPr/>
                <p:nvPr/>
              </p:nvSpPr>
              <p:spPr>
                <a:xfrm>
                  <a:off x="7912442" y="1377507"/>
                  <a:ext cx="412809" cy="1647822"/>
                </a:xfrm>
                <a:custGeom>
                  <a:avLst/>
                  <a:gdLst>
                    <a:gd name="connsiteX0" fmla="*/ 55128 w 412809"/>
                    <a:gd name="connsiteY0" fmla="*/ 1270843 h 1647825"/>
                    <a:gd name="connsiteX1" fmla="*/ 57329 w 412809"/>
                    <a:gd name="connsiteY1" fmla="*/ 1296812 h 1647825"/>
                    <a:gd name="connsiteX2" fmla="*/ 56977 w 412809"/>
                    <a:gd name="connsiteY2" fmla="*/ 1296812 h 1647825"/>
                    <a:gd name="connsiteX3" fmla="*/ 144684 w 412809"/>
                    <a:gd name="connsiteY3" fmla="*/ 1174822 h 1647825"/>
                    <a:gd name="connsiteX4" fmla="*/ 135331 w 412809"/>
                    <a:gd name="connsiteY4" fmla="*/ 1184698 h 1647825"/>
                    <a:gd name="connsiteX5" fmla="*/ 133482 w 412809"/>
                    <a:gd name="connsiteY5" fmla="*/ 1179359 h 1647825"/>
                    <a:gd name="connsiteX6" fmla="*/ 33422 w 412809"/>
                    <a:gd name="connsiteY6" fmla="*/ 1014714 h 1647825"/>
                    <a:gd name="connsiteX7" fmla="*/ 33516 w 412809"/>
                    <a:gd name="connsiteY7" fmla="*/ 1015825 h 1647825"/>
                    <a:gd name="connsiteX8" fmla="*/ 33371 w 412809"/>
                    <a:gd name="connsiteY8" fmla="*/ 1015825 h 1647825"/>
                    <a:gd name="connsiteX9" fmla="*/ 82609 w 412809"/>
                    <a:gd name="connsiteY9" fmla="*/ 0 h 1647825"/>
                    <a:gd name="connsiteX10" fmla="*/ 148837 w 412809"/>
                    <a:gd name="connsiteY10" fmla="*/ 51624 h 1647825"/>
                    <a:gd name="connsiteX11" fmla="*/ 183762 w 412809"/>
                    <a:gd name="connsiteY11" fmla="*/ 172275 h 1647825"/>
                    <a:gd name="connsiteX12" fmla="*/ 412809 w 412809"/>
                    <a:gd name="connsiteY12" fmla="*/ 1600200 h 1647825"/>
                    <a:gd name="connsiteX13" fmla="*/ 292159 w 412809"/>
                    <a:gd name="connsiteY13" fmla="*/ 1647825 h 1647825"/>
                    <a:gd name="connsiteX14" fmla="*/ 221862 w 412809"/>
                    <a:gd name="connsiteY14" fmla="*/ 1397824 h 1647825"/>
                    <a:gd name="connsiteX15" fmla="*/ 74327 w 412809"/>
                    <a:gd name="connsiteY15" fmla="*/ 966037 h 1647825"/>
                    <a:gd name="connsiteX16" fmla="*/ 15446 w 412809"/>
                    <a:gd name="connsiteY16" fmla="*/ 22028 h 164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2809" h="1647825">
                      <a:moveTo>
                        <a:pt x="55128" y="1270843"/>
                      </a:moveTo>
                      <a:lnTo>
                        <a:pt x="57329" y="1296812"/>
                      </a:lnTo>
                      <a:lnTo>
                        <a:pt x="56977" y="1296812"/>
                      </a:lnTo>
                      <a:close/>
                      <a:moveTo>
                        <a:pt x="144684" y="1174822"/>
                      </a:moveTo>
                      <a:lnTo>
                        <a:pt x="135331" y="1184698"/>
                      </a:lnTo>
                      <a:lnTo>
                        <a:pt x="133482" y="1179359"/>
                      </a:lnTo>
                      <a:close/>
                      <a:moveTo>
                        <a:pt x="33422" y="1014714"/>
                      </a:moveTo>
                      <a:lnTo>
                        <a:pt x="33516" y="1015825"/>
                      </a:lnTo>
                      <a:lnTo>
                        <a:pt x="33371" y="1015825"/>
                      </a:lnTo>
                      <a:close/>
                      <a:moveTo>
                        <a:pt x="82609" y="0"/>
                      </a:moveTo>
                      <a:cubicBezTo>
                        <a:pt x="101666" y="9695"/>
                        <a:pt x="131978" y="22912"/>
                        <a:pt x="148837" y="51624"/>
                      </a:cubicBezTo>
                      <a:cubicBezTo>
                        <a:pt x="165696" y="80337"/>
                        <a:pt x="136592" y="-81058"/>
                        <a:pt x="183762" y="172275"/>
                      </a:cubicBezTo>
                      <a:lnTo>
                        <a:pt x="412809" y="1600200"/>
                      </a:lnTo>
                      <a:lnTo>
                        <a:pt x="292159" y="1647825"/>
                      </a:lnTo>
                      <a:cubicBezTo>
                        <a:pt x="265552" y="1564491"/>
                        <a:pt x="248469" y="1481158"/>
                        <a:pt x="221862" y="1397824"/>
                      </a:cubicBezTo>
                      <a:lnTo>
                        <a:pt x="74327" y="966037"/>
                      </a:lnTo>
                      <a:cubicBezTo>
                        <a:pt x="89625" y="631259"/>
                        <a:pt x="-44302" y="344106"/>
                        <a:pt x="15446" y="22028"/>
                      </a:cubicBezTo>
                      <a:close/>
                    </a:path>
                  </a:pathLst>
                </a:custGeom>
                <a:solidFill>
                  <a:srgbClr val="A5A5A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86" name="Полилиния 285"/>
                <p:cNvSpPr/>
                <p:nvPr/>
              </p:nvSpPr>
              <p:spPr>
                <a:xfrm>
                  <a:off x="7027508" y="1286870"/>
                  <a:ext cx="1004453" cy="1987548"/>
                </a:xfrm>
                <a:custGeom>
                  <a:avLst/>
                  <a:gdLst>
                    <a:gd name="connsiteX0" fmla="*/ 367449 w 971330"/>
                    <a:gd name="connsiteY0" fmla="*/ 1948523 h 1987550"/>
                    <a:gd name="connsiteX1" fmla="*/ 498847 w 971330"/>
                    <a:gd name="connsiteY1" fmla="*/ 1978846 h 1987550"/>
                    <a:gd name="connsiteX2" fmla="*/ 495912 w 971330"/>
                    <a:gd name="connsiteY2" fmla="*/ 1987550 h 1987550"/>
                    <a:gd name="connsiteX3" fmla="*/ 967559 w 971330"/>
                    <a:gd name="connsiteY3" fmla="*/ 1881902 h 1987550"/>
                    <a:gd name="connsiteX4" fmla="*/ 845162 w 971330"/>
                    <a:gd name="connsiteY4" fmla="*/ 1943100 h 1987550"/>
                    <a:gd name="connsiteX5" fmla="*/ 838313 w 971330"/>
                    <a:gd name="connsiteY5" fmla="*/ 1922291 h 1987550"/>
                    <a:gd name="connsiteX6" fmla="*/ 680416 w 971330"/>
                    <a:gd name="connsiteY6" fmla="*/ 1431784 h 1987550"/>
                    <a:gd name="connsiteX7" fmla="*/ 690498 w 971330"/>
                    <a:gd name="connsiteY7" fmla="*/ 1473160 h 1987550"/>
                    <a:gd name="connsiteX8" fmla="*/ 680062 w 971330"/>
                    <a:gd name="connsiteY8" fmla="*/ 1441450 h 1987550"/>
                    <a:gd name="connsiteX9" fmla="*/ 676985 w 971330"/>
                    <a:gd name="connsiteY9" fmla="*/ 1450574 h 1987550"/>
                    <a:gd name="connsiteX10" fmla="*/ 12032 w 971330"/>
                    <a:gd name="connsiteY10" fmla="*/ 1362971 h 1987550"/>
                    <a:gd name="connsiteX11" fmla="*/ 3315 w 971330"/>
                    <a:gd name="connsiteY11" fmla="*/ 1707853 h 1987550"/>
                    <a:gd name="connsiteX12" fmla="*/ 0 w 971330"/>
                    <a:gd name="connsiteY12" fmla="*/ 1682682 h 1987550"/>
                    <a:gd name="connsiteX13" fmla="*/ 267312 w 971330"/>
                    <a:gd name="connsiteY13" fmla="*/ 0 h 1987550"/>
                    <a:gd name="connsiteX14" fmla="*/ 641962 w 971330"/>
                    <a:gd name="connsiteY14" fmla="*/ 755650 h 1987550"/>
                    <a:gd name="connsiteX15" fmla="*/ 730862 w 971330"/>
                    <a:gd name="connsiteY15" fmla="*/ 6350 h 1987550"/>
                    <a:gd name="connsiteX16" fmla="*/ 971330 w 971330"/>
                    <a:gd name="connsiteY16" fmla="*/ 103561 h 1987550"/>
                    <a:gd name="connsiteX17" fmla="*/ 971330 w 971330"/>
                    <a:gd name="connsiteY17" fmla="*/ 1362147 h 1987550"/>
                    <a:gd name="connsiteX18" fmla="*/ 12063 w 971330"/>
                    <a:gd name="connsiteY18" fmla="*/ 1362147 h 1987550"/>
                    <a:gd name="connsiteX19" fmla="*/ 38593 w 971330"/>
                    <a:gd name="connsiteY19" fmla="*/ 657214 h 1987550"/>
                    <a:gd name="connsiteX20" fmla="*/ 128822 w 971330"/>
                    <a:gd name="connsiteY20" fmla="*/ 74121 h 1987550"/>
                    <a:gd name="connsiteX0" fmla="*/ 367449 w 971331"/>
                    <a:gd name="connsiteY0" fmla="*/ 1948523 h 1987550"/>
                    <a:gd name="connsiteX1" fmla="*/ 498847 w 971331"/>
                    <a:gd name="connsiteY1" fmla="*/ 1978846 h 1987550"/>
                    <a:gd name="connsiteX2" fmla="*/ 495912 w 971331"/>
                    <a:gd name="connsiteY2" fmla="*/ 1987550 h 1987550"/>
                    <a:gd name="connsiteX3" fmla="*/ 367449 w 971331"/>
                    <a:gd name="connsiteY3" fmla="*/ 1948523 h 1987550"/>
                    <a:gd name="connsiteX4" fmla="*/ 967559 w 971331"/>
                    <a:gd name="connsiteY4" fmla="*/ 1881902 h 1987550"/>
                    <a:gd name="connsiteX5" fmla="*/ 845162 w 971331"/>
                    <a:gd name="connsiteY5" fmla="*/ 1943100 h 1987550"/>
                    <a:gd name="connsiteX6" fmla="*/ 838313 w 971331"/>
                    <a:gd name="connsiteY6" fmla="*/ 1922291 h 1987550"/>
                    <a:gd name="connsiteX7" fmla="*/ 967559 w 971331"/>
                    <a:gd name="connsiteY7" fmla="*/ 1881902 h 1987550"/>
                    <a:gd name="connsiteX8" fmla="*/ 680416 w 971331"/>
                    <a:gd name="connsiteY8" fmla="*/ 1431784 h 1987550"/>
                    <a:gd name="connsiteX9" fmla="*/ 690498 w 971331"/>
                    <a:gd name="connsiteY9" fmla="*/ 1473160 h 1987550"/>
                    <a:gd name="connsiteX10" fmla="*/ 680062 w 971331"/>
                    <a:gd name="connsiteY10" fmla="*/ 1441450 h 1987550"/>
                    <a:gd name="connsiteX11" fmla="*/ 676985 w 971331"/>
                    <a:gd name="connsiteY11" fmla="*/ 1450574 h 1987550"/>
                    <a:gd name="connsiteX12" fmla="*/ 680416 w 971331"/>
                    <a:gd name="connsiteY12" fmla="*/ 1431784 h 1987550"/>
                    <a:gd name="connsiteX13" fmla="*/ 12032 w 971331"/>
                    <a:gd name="connsiteY13" fmla="*/ 1362971 h 1987550"/>
                    <a:gd name="connsiteX14" fmla="*/ 3315 w 971331"/>
                    <a:gd name="connsiteY14" fmla="*/ 1707853 h 1987550"/>
                    <a:gd name="connsiteX15" fmla="*/ 0 w 971331"/>
                    <a:gd name="connsiteY15" fmla="*/ 1682682 h 1987550"/>
                    <a:gd name="connsiteX16" fmla="*/ 12032 w 971331"/>
                    <a:gd name="connsiteY16" fmla="*/ 1362971 h 1987550"/>
                    <a:gd name="connsiteX17" fmla="*/ 267312 w 971331"/>
                    <a:gd name="connsiteY17" fmla="*/ 0 h 1987550"/>
                    <a:gd name="connsiteX18" fmla="*/ 641962 w 971331"/>
                    <a:gd name="connsiteY18" fmla="*/ 755650 h 1987550"/>
                    <a:gd name="connsiteX19" fmla="*/ 730862 w 971331"/>
                    <a:gd name="connsiteY19" fmla="*/ 6350 h 1987550"/>
                    <a:gd name="connsiteX20" fmla="*/ 971330 w 971331"/>
                    <a:gd name="connsiteY20" fmla="*/ 103561 h 1987550"/>
                    <a:gd name="connsiteX21" fmla="*/ 922972 w 971331"/>
                    <a:gd name="connsiteY21" fmla="*/ 1126130 h 1987550"/>
                    <a:gd name="connsiteX22" fmla="*/ 971330 w 971331"/>
                    <a:gd name="connsiteY22" fmla="*/ 1362147 h 1987550"/>
                    <a:gd name="connsiteX23" fmla="*/ 12063 w 971331"/>
                    <a:gd name="connsiteY23" fmla="*/ 1362147 h 1987550"/>
                    <a:gd name="connsiteX24" fmla="*/ 38593 w 971331"/>
                    <a:gd name="connsiteY24" fmla="*/ 657214 h 1987550"/>
                    <a:gd name="connsiteX25" fmla="*/ 128822 w 971331"/>
                    <a:gd name="connsiteY25" fmla="*/ 74121 h 1987550"/>
                    <a:gd name="connsiteX26" fmla="*/ 267312 w 971331"/>
                    <a:gd name="connsiteY26" fmla="*/ 0 h 1987550"/>
                    <a:gd name="connsiteX0" fmla="*/ 367449 w 971331"/>
                    <a:gd name="connsiteY0" fmla="*/ 1948523 h 1987550"/>
                    <a:gd name="connsiteX1" fmla="*/ 498847 w 971331"/>
                    <a:gd name="connsiteY1" fmla="*/ 1978846 h 1987550"/>
                    <a:gd name="connsiteX2" fmla="*/ 495912 w 971331"/>
                    <a:gd name="connsiteY2" fmla="*/ 1987550 h 1987550"/>
                    <a:gd name="connsiteX3" fmla="*/ 367449 w 971331"/>
                    <a:gd name="connsiteY3" fmla="*/ 1948523 h 1987550"/>
                    <a:gd name="connsiteX4" fmla="*/ 967559 w 971331"/>
                    <a:gd name="connsiteY4" fmla="*/ 1881902 h 1987550"/>
                    <a:gd name="connsiteX5" fmla="*/ 845162 w 971331"/>
                    <a:gd name="connsiteY5" fmla="*/ 1943100 h 1987550"/>
                    <a:gd name="connsiteX6" fmla="*/ 838313 w 971331"/>
                    <a:gd name="connsiteY6" fmla="*/ 1922291 h 1987550"/>
                    <a:gd name="connsiteX7" fmla="*/ 967559 w 971331"/>
                    <a:gd name="connsiteY7" fmla="*/ 1881902 h 1987550"/>
                    <a:gd name="connsiteX8" fmla="*/ 680416 w 971331"/>
                    <a:gd name="connsiteY8" fmla="*/ 1431784 h 1987550"/>
                    <a:gd name="connsiteX9" fmla="*/ 690498 w 971331"/>
                    <a:gd name="connsiteY9" fmla="*/ 1473160 h 1987550"/>
                    <a:gd name="connsiteX10" fmla="*/ 680062 w 971331"/>
                    <a:gd name="connsiteY10" fmla="*/ 1441450 h 1987550"/>
                    <a:gd name="connsiteX11" fmla="*/ 676985 w 971331"/>
                    <a:gd name="connsiteY11" fmla="*/ 1450574 h 1987550"/>
                    <a:gd name="connsiteX12" fmla="*/ 680416 w 971331"/>
                    <a:gd name="connsiteY12" fmla="*/ 1431784 h 1987550"/>
                    <a:gd name="connsiteX13" fmla="*/ 12032 w 971331"/>
                    <a:gd name="connsiteY13" fmla="*/ 1362971 h 1987550"/>
                    <a:gd name="connsiteX14" fmla="*/ 3315 w 971331"/>
                    <a:gd name="connsiteY14" fmla="*/ 1707853 h 1987550"/>
                    <a:gd name="connsiteX15" fmla="*/ 0 w 971331"/>
                    <a:gd name="connsiteY15" fmla="*/ 1682682 h 1987550"/>
                    <a:gd name="connsiteX16" fmla="*/ 12032 w 971331"/>
                    <a:gd name="connsiteY16" fmla="*/ 1362971 h 1987550"/>
                    <a:gd name="connsiteX17" fmla="*/ 267312 w 971331"/>
                    <a:gd name="connsiteY17" fmla="*/ 0 h 1987550"/>
                    <a:gd name="connsiteX18" fmla="*/ 641962 w 971331"/>
                    <a:gd name="connsiteY18" fmla="*/ 755650 h 1987550"/>
                    <a:gd name="connsiteX19" fmla="*/ 730862 w 971331"/>
                    <a:gd name="connsiteY19" fmla="*/ 6350 h 1987550"/>
                    <a:gd name="connsiteX20" fmla="*/ 971330 w 971331"/>
                    <a:gd name="connsiteY20" fmla="*/ 103561 h 1987550"/>
                    <a:gd name="connsiteX21" fmla="*/ 922972 w 971331"/>
                    <a:gd name="connsiteY21" fmla="*/ 1126130 h 1987550"/>
                    <a:gd name="connsiteX22" fmla="*/ 971330 w 971331"/>
                    <a:gd name="connsiteY22" fmla="*/ 1362147 h 1987550"/>
                    <a:gd name="connsiteX23" fmla="*/ 12063 w 971331"/>
                    <a:gd name="connsiteY23" fmla="*/ 1362147 h 1987550"/>
                    <a:gd name="connsiteX24" fmla="*/ 51002 w 971331"/>
                    <a:gd name="connsiteY24" fmla="*/ 1151530 h 1987550"/>
                    <a:gd name="connsiteX25" fmla="*/ 38593 w 971331"/>
                    <a:gd name="connsiteY25" fmla="*/ 657214 h 1987550"/>
                    <a:gd name="connsiteX26" fmla="*/ 128822 w 971331"/>
                    <a:gd name="connsiteY26" fmla="*/ 74121 h 1987550"/>
                    <a:gd name="connsiteX27" fmla="*/ 267312 w 971331"/>
                    <a:gd name="connsiteY27" fmla="*/ 0 h 1987550"/>
                    <a:gd name="connsiteX0" fmla="*/ 367449 w 971331"/>
                    <a:gd name="connsiteY0" fmla="*/ 1948523 h 1987550"/>
                    <a:gd name="connsiteX1" fmla="*/ 498847 w 971331"/>
                    <a:gd name="connsiteY1" fmla="*/ 1978846 h 1987550"/>
                    <a:gd name="connsiteX2" fmla="*/ 495912 w 971331"/>
                    <a:gd name="connsiteY2" fmla="*/ 1987550 h 1987550"/>
                    <a:gd name="connsiteX3" fmla="*/ 367449 w 971331"/>
                    <a:gd name="connsiteY3" fmla="*/ 1948523 h 1987550"/>
                    <a:gd name="connsiteX4" fmla="*/ 967559 w 971331"/>
                    <a:gd name="connsiteY4" fmla="*/ 1881902 h 1987550"/>
                    <a:gd name="connsiteX5" fmla="*/ 845162 w 971331"/>
                    <a:gd name="connsiteY5" fmla="*/ 1943100 h 1987550"/>
                    <a:gd name="connsiteX6" fmla="*/ 838313 w 971331"/>
                    <a:gd name="connsiteY6" fmla="*/ 1922291 h 1987550"/>
                    <a:gd name="connsiteX7" fmla="*/ 967559 w 971331"/>
                    <a:gd name="connsiteY7" fmla="*/ 1881902 h 1987550"/>
                    <a:gd name="connsiteX8" fmla="*/ 680416 w 971331"/>
                    <a:gd name="connsiteY8" fmla="*/ 1431784 h 1987550"/>
                    <a:gd name="connsiteX9" fmla="*/ 690498 w 971331"/>
                    <a:gd name="connsiteY9" fmla="*/ 1473160 h 1987550"/>
                    <a:gd name="connsiteX10" fmla="*/ 680062 w 971331"/>
                    <a:gd name="connsiteY10" fmla="*/ 1441450 h 1987550"/>
                    <a:gd name="connsiteX11" fmla="*/ 676985 w 971331"/>
                    <a:gd name="connsiteY11" fmla="*/ 1450574 h 1987550"/>
                    <a:gd name="connsiteX12" fmla="*/ 680416 w 971331"/>
                    <a:gd name="connsiteY12" fmla="*/ 1431784 h 1987550"/>
                    <a:gd name="connsiteX13" fmla="*/ 12032 w 971331"/>
                    <a:gd name="connsiteY13" fmla="*/ 1362971 h 1987550"/>
                    <a:gd name="connsiteX14" fmla="*/ 3315 w 971331"/>
                    <a:gd name="connsiteY14" fmla="*/ 1707853 h 1987550"/>
                    <a:gd name="connsiteX15" fmla="*/ 0 w 971331"/>
                    <a:gd name="connsiteY15" fmla="*/ 1682682 h 1987550"/>
                    <a:gd name="connsiteX16" fmla="*/ 12032 w 971331"/>
                    <a:gd name="connsiteY16" fmla="*/ 1362971 h 1987550"/>
                    <a:gd name="connsiteX17" fmla="*/ 267312 w 971331"/>
                    <a:gd name="connsiteY17" fmla="*/ 0 h 1987550"/>
                    <a:gd name="connsiteX18" fmla="*/ 641962 w 971331"/>
                    <a:gd name="connsiteY18" fmla="*/ 755650 h 1987550"/>
                    <a:gd name="connsiteX19" fmla="*/ 730862 w 971331"/>
                    <a:gd name="connsiteY19" fmla="*/ 6350 h 1987550"/>
                    <a:gd name="connsiteX20" fmla="*/ 971330 w 971331"/>
                    <a:gd name="connsiteY20" fmla="*/ 103561 h 1987550"/>
                    <a:gd name="connsiteX21" fmla="*/ 922972 w 971331"/>
                    <a:gd name="connsiteY21" fmla="*/ 1126130 h 1987550"/>
                    <a:gd name="connsiteX22" fmla="*/ 971330 w 971331"/>
                    <a:gd name="connsiteY22" fmla="*/ 1362147 h 1987550"/>
                    <a:gd name="connsiteX23" fmla="*/ 12063 w 971331"/>
                    <a:gd name="connsiteY23" fmla="*/ 1362147 h 1987550"/>
                    <a:gd name="connsiteX24" fmla="*/ 51002 w 971331"/>
                    <a:gd name="connsiteY24" fmla="*/ 1151530 h 1987550"/>
                    <a:gd name="connsiteX25" fmla="*/ 57015 w 971331"/>
                    <a:gd name="connsiteY25" fmla="*/ 657214 h 1987550"/>
                    <a:gd name="connsiteX26" fmla="*/ 128822 w 971331"/>
                    <a:gd name="connsiteY26" fmla="*/ 74121 h 1987550"/>
                    <a:gd name="connsiteX27" fmla="*/ 267312 w 971331"/>
                    <a:gd name="connsiteY27" fmla="*/ 0 h 198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71331" h="1987550">
                      <a:moveTo>
                        <a:pt x="367449" y="1948523"/>
                      </a:moveTo>
                      <a:lnTo>
                        <a:pt x="498847" y="1978846"/>
                      </a:lnTo>
                      <a:lnTo>
                        <a:pt x="495912" y="1987550"/>
                      </a:lnTo>
                      <a:lnTo>
                        <a:pt x="367449" y="1948523"/>
                      </a:lnTo>
                      <a:close/>
                      <a:moveTo>
                        <a:pt x="967559" y="1881902"/>
                      </a:moveTo>
                      <a:lnTo>
                        <a:pt x="845162" y="1943100"/>
                      </a:lnTo>
                      <a:lnTo>
                        <a:pt x="838313" y="1922291"/>
                      </a:lnTo>
                      <a:lnTo>
                        <a:pt x="967559" y="1881902"/>
                      </a:lnTo>
                      <a:close/>
                      <a:moveTo>
                        <a:pt x="680416" y="1431784"/>
                      </a:moveTo>
                      <a:lnTo>
                        <a:pt x="690498" y="1473160"/>
                      </a:lnTo>
                      <a:lnTo>
                        <a:pt x="680062" y="1441450"/>
                      </a:lnTo>
                      <a:lnTo>
                        <a:pt x="676985" y="1450574"/>
                      </a:lnTo>
                      <a:lnTo>
                        <a:pt x="680416" y="1431784"/>
                      </a:lnTo>
                      <a:close/>
                      <a:moveTo>
                        <a:pt x="12032" y="1362971"/>
                      </a:moveTo>
                      <a:lnTo>
                        <a:pt x="3315" y="1707853"/>
                      </a:lnTo>
                      <a:lnTo>
                        <a:pt x="0" y="1682682"/>
                      </a:lnTo>
                      <a:lnTo>
                        <a:pt x="12032" y="1362971"/>
                      </a:lnTo>
                      <a:close/>
                      <a:moveTo>
                        <a:pt x="267312" y="0"/>
                      </a:moveTo>
                      <a:lnTo>
                        <a:pt x="641962" y="755650"/>
                      </a:lnTo>
                      <a:lnTo>
                        <a:pt x="730862" y="6350"/>
                      </a:lnTo>
                      <a:lnTo>
                        <a:pt x="971330" y="103561"/>
                      </a:lnTo>
                      <a:cubicBezTo>
                        <a:pt x="971586" y="442301"/>
                        <a:pt x="922716" y="787390"/>
                        <a:pt x="922972" y="1126130"/>
                      </a:cubicBezTo>
                      <a:lnTo>
                        <a:pt x="971330" y="1362147"/>
                      </a:lnTo>
                      <a:lnTo>
                        <a:pt x="12063" y="1362147"/>
                      </a:lnTo>
                      <a:cubicBezTo>
                        <a:pt x="14808" y="1291941"/>
                        <a:pt x="48257" y="1221736"/>
                        <a:pt x="51002" y="1151530"/>
                      </a:cubicBezTo>
                      <a:cubicBezTo>
                        <a:pt x="53006" y="986758"/>
                        <a:pt x="55011" y="821986"/>
                        <a:pt x="57015" y="657214"/>
                      </a:cubicBezTo>
                      <a:lnTo>
                        <a:pt x="128822" y="74121"/>
                      </a:lnTo>
                      <a:lnTo>
                        <a:pt x="267312" y="0"/>
                      </a:lnTo>
                      <a:close/>
                    </a:path>
                  </a:pathLst>
                </a:custGeom>
                <a:solidFill>
                  <a:srgbClr val="B5B6B8"/>
                </a:solidFill>
                <a:ln>
                  <a:no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87" name="Полилиния 286"/>
                <p:cNvSpPr/>
                <p:nvPr/>
              </p:nvSpPr>
              <p:spPr>
                <a:xfrm rot="2076468">
                  <a:off x="7750596" y="5512553"/>
                  <a:ext cx="534701" cy="243387"/>
                </a:xfrm>
                <a:custGeom>
                  <a:avLst/>
                  <a:gdLst>
                    <a:gd name="connsiteX0" fmla="*/ 213550 w 711684"/>
                    <a:gd name="connsiteY0" fmla="*/ 0 h 323945"/>
                    <a:gd name="connsiteX1" fmla="*/ 498472 w 711684"/>
                    <a:gd name="connsiteY1" fmla="*/ 80051 h 323945"/>
                    <a:gd name="connsiteX2" fmla="*/ 511659 w 711684"/>
                    <a:gd name="connsiteY2" fmla="*/ 78626 h 323945"/>
                    <a:gd name="connsiteX3" fmla="*/ 711684 w 711684"/>
                    <a:gd name="connsiteY3" fmla="*/ 185697 h 323945"/>
                    <a:gd name="connsiteX4" fmla="*/ 511659 w 711684"/>
                    <a:gd name="connsiteY4" fmla="*/ 292768 h 323945"/>
                    <a:gd name="connsiteX5" fmla="*/ 433800 w 711684"/>
                    <a:gd name="connsiteY5" fmla="*/ 284354 h 323945"/>
                    <a:gd name="connsiteX6" fmla="*/ 422396 w 711684"/>
                    <a:gd name="connsiteY6" fmla="*/ 280239 h 323945"/>
                    <a:gd name="connsiteX7" fmla="*/ 362517 w 711684"/>
                    <a:gd name="connsiteY7" fmla="*/ 282960 h 323945"/>
                    <a:gd name="connsiteX8" fmla="*/ 113055 w 711684"/>
                    <a:gd name="connsiteY8" fmla="*/ 323945 h 323945"/>
                    <a:gd name="connsiteX9" fmla="*/ 0 w 711684"/>
                    <a:gd name="connsiteY9" fmla="*/ 1936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684" h="323945">
                      <a:moveTo>
                        <a:pt x="213550" y="0"/>
                      </a:moveTo>
                      <a:lnTo>
                        <a:pt x="498472" y="80051"/>
                      </a:lnTo>
                      <a:lnTo>
                        <a:pt x="511659" y="78626"/>
                      </a:lnTo>
                      <a:cubicBezTo>
                        <a:pt x="622130" y="78626"/>
                        <a:pt x="711684" y="126563"/>
                        <a:pt x="711684" y="185697"/>
                      </a:cubicBezTo>
                      <a:cubicBezTo>
                        <a:pt x="711684" y="244831"/>
                        <a:pt x="622130" y="292768"/>
                        <a:pt x="511659" y="292768"/>
                      </a:cubicBezTo>
                      <a:cubicBezTo>
                        <a:pt x="484041" y="292768"/>
                        <a:pt x="457731" y="289772"/>
                        <a:pt x="433800" y="284354"/>
                      </a:cubicBezTo>
                      <a:lnTo>
                        <a:pt x="422396" y="280239"/>
                      </a:lnTo>
                      <a:lnTo>
                        <a:pt x="362517" y="282960"/>
                      </a:lnTo>
                      <a:lnTo>
                        <a:pt x="113055" y="323945"/>
                      </a:lnTo>
                      <a:lnTo>
                        <a:pt x="0" y="193651"/>
                      </a:lnTo>
                      <a:close/>
                    </a:path>
                  </a:pathLst>
                </a:custGeom>
                <a:solidFill>
                  <a:srgbClr val="47311A"/>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88" name="Скругленный прямоугольник 287"/>
                <p:cNvSpPr/>
                <p:nvPr/>
              </p:nvSpPr>
              <p:spPr>
                <a:xfrm>
                  <a:off x="7562400" y="3357568"/>
                  <a:ext cx="68103" cy="288127"/>
                </a:xfrm>
                <a:prstGeom prst="roundRect">
                  <a:avLst>
                    <a:gd name="adj" fmla="val 50000"/>
                  </a:avLst>
                </a:prstGeom>
                <a:solidFill>
                  <a:srgbClr val="966A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89" name="Полилиния 288"/>
                <p:cNvSpPr/>
                <p:nvPr/>
              </p:nvSpPr>
              <p:spPr>
                <a:xfrm rot="2076468">
                  <a:off x="7092433" y="5793353"/>
                  <a:ext cx="711682" cy="323947"/>
                </a:xfrm>
                <a:custGeom>
                  <a:avLst/>
                  <a:gdLst>
                    <a:gd name="connsiteX0" fmla="*/ 213550 w 711684"/>
                    <a:gd name="connsiteY0" fmla="*/ 0 h 323945"/>
                    <a:gd name="connsiteX1" fmla="*/ 498472 w 711684"/>
                    <a:gd name="connsiteY1" fmla="*/ 80051 h 323945"/>
                    <a:gd name="connsiteX2" fmla="*/ 511659 w 711684"/>
                    <a:gd name="connsiteY2" fmla="*/ 78626 h 323945"/>
                    <a:gd name="connsiteX3" fmla="*/ 711684 w 711684"/>
                    <a:gd name="connsiteY3" fmla="*/ 185697 h 323945"/>
                    <a:gd name="connsiteX4" fmla="*/ 511659 w 711684"/>
                    <a:gd name="connsiteY4" fmla="*/ 292768 h 323945"/>
                    <a:gd name="connsiteX5" fmla="*/ 433800 w 711684"/>
                    <a:gd name="connsiteY5" fmla="*/ 284354 h 323945"/>
                    <a:gd name="connsiteX6" fmla="*/ 422396 w 711684"/>
                    <a:gd name="connsiteY6" fmla="*/ 280239 h 323945"/>
                    <a:gd name="connsiteX7" fmla="*/ 362517 w 711684"/>
                    <a:gd name="connsiteY7" fmla="*/ 282960 h 323945"/>
                    <a:gd name="connsiteX8" fmla="*/ 113055 w 711684"/>
                    <a:gd name="connsiteY8" fmla="*/ 323945 h 323945"/>
                    <a:gd name="connsiteX9" fmla="*/ 0 w 711684"/>
                    <a:gd name="connsiteY9" fmla="*/ 1936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684" h="323945">
                      <a:moveTo>
                        <a:pt x="213550" y="0"/>
                      </a:moveTo>
                      <a:lnTo>
                        <a:pt x="498472" y="80051"/>
                      </a:lnTo>
                      <a:lnTo>
                        <a:pt x="511659" y="78626"/>
                      </a:lnTo>
                      <a:cubicBezTo>
                        <a:pt x="622130" y="78626"/>
                        <a:pt x="711684" y="126563"/>
                        <a:pt x="711684" y="185697"/>
                      </a:cubicBezTo>
                      <a:cubicBezTo>
                        <a:pt x="711684" y="244831"/>
                        <a:pt x="622130" y="292768"/>
                        <a:pt x="511659" y="292768"/>
                      </a:cubicBezTo>
                      <a:cubicBezTo>
                        <a:pt x="484041" y="292768"/>
                        <a:pt x="457731" y="289772"/>
                        <a:pt x="433800" y="284354"/>
                      </a:cubicBezTo>
                      <a:lnTo>
                        <a:pt x="422396" y="280239"/>
                      </a:lnTo>
                      <a:lnTo>
                        <a:pt x="362517" y="282960"/>
                      </a:lnTo>
                      <a:lnTo>
                        <a:pt x="113055" y="323945"/>
                      </a:lnTo>
                      <a:lnTo>
                        <a:pt x="0" y="193651"/>
                      </a:lnTo>
                      <a:close/>
                    </a:path>
                  </a:pathLst>
                </a:custGeom>
                <a:solidFill>
                  <a:srgbClr val="47311A"/>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90" name="Полилиния 289"/>
                <p:cNvSpPr/>
                <p:nvPr/>
              </p:nvSpPr>
              <p:spPr>
                <a:xfrm>
                  <a:off x="7030455" y="2639292"/>
                  <a:ext cx="1068494" cy="635429"/>
                </a:xfrm>
                <a:custGeom>
                  <a:avLst/>
                  <a:gdLst>
                    <a:gd name="connsiteX0" fmla="*/ 1068196 w 1073254"/>
                    <a:gd name="connsiteY0" fmla="*/ 0 h 615737"/>
                    <a:gd name="connsiteX1" fmla="*/ 1073254 w 1073254"/>
                    <a:gd name="connsiteY1" fmla="*/ 0 h 615737"/>
                    <a:gd name="connsiteX2" fmla="*/ 1073254 w 1073254"/>
                    <a:gd name="connsiteY2" fmla="*/ 15307 h 615737"/>
                    <a:gd name="connsiteX3" fmla="*/ 17437 w 1073254"/>
                    <a:gd name="connsiteY3" fmla="*/ 0 h 615737"/>
                    <a:gd name="connsiteX4" fmla="*/ 1001058 w 1073254"/>
                    <a:gd name="connsiteY4" fmla="*/ 0 h 615737"/>
                    <a:gd name="connsiteX5" fmla="*/ 1041400 w 1073254"/>
                    <a:gd name="connsiteY5" fmla="*/ 476037 h 615737"/>
                    <a:gd name="connsiteX6" fmla="*/ 850900 w 1073254"/>
                    <a:gd name="connsiteY6" fmla="*/ 571287 h 615737"/>
                    <a:gd name="connsiteX7" fmla="*/ 685800 w 1073254"/>
                    <a:gd name="connsiteY7" fmla="*/ 69637 h 615737"/>
                    <a:gd name="connsiteX8" fmla="*/ 501650 w 1073254"/>
                    <a:gd name="connsiteY8" fmla="*/ 615737 h 615737"/>
                    <a:gd name="connsiteX9" fmla="*/ 0 w 1073254"/>
                    <a:gd name="connsiteY9" fmla="*/ 463337 h 615737"/>
                    <a:gd name="connsiteX0" fmla="*/ 1068196 w 1073254"/>
                    <a:gd name="connsiteY0" fmla="*/ 0 h 615737"/>
                    <a:gd name="connsiteX1" fmla="*/ 1073254 w 1073254"/>
                    <a:gd name="connsiteY1" fmla="*/ 0 h 615737"/>
                    <a:gd name="connsiteX2" fmla="*/ 1073254 w 1073254"/>
                    <a:gd name="connsiteY2" fmla="*/ 15307 h 615737"/>
                    <a:gd name="connsiteX3" fmla="*/ 1068196 w 1073254"/>
                    <a:gd name="connsiteY3" fmla="*/ 0 h 615737"/>
                    <a:gd name="connsiteX4" fmla="*/ 17437 w 1073254"/>
                    <a:gd name="connsiteY4" fmla="*/ 0 h 615737"/>
                    <a:gd name="connsiteX5" fmla="*/ 1001058 w 1073254"/>
                    <a:gd name="connsiteY5" fmla="*/ 0 h 615737"/>
                    <a:gd name="connsiteX6" fmla="*/ 1041400 w 1073254"/>
                    <a:gd name="connsiteY6" fmla="*/ 476037 h 615737"/>
                    <a:gd name="connsiteX7" fmla="*/ 808038 w 1073254"/>
                    <a:gd name="connsiteY7" fmla="*/ 571287 h 615737"/>
                    <a:gd name="connsiteX8" fmla="*/ 685800 w 1073254"/>
                    <a:gd name="connsiteY8" fmla="*/ 69637 h 615737"/>
                    <a:gd name="connsiteX9" fmla="*/ 501650 w 1073254"/>
                    <a:gd name="connsiteY9" fmla="*/ 615737 h 615737"/>
                    <a:gd name="connsiteX10" fmla="*/ 0 w 1073254"/>
                    <a:gd name="connsiteY10" fmla="*/ 463337 h 615737"/>
                    <a:gd name="connsiteX11" fmla="*/ 17437 w 1073254"/>
                    <a:gd name="connsiteY11" fmla="*/ 0 h 615737"/>
                    <a:gd name="connsiteX0" fmla="*/ 1068196 w 1073254"/>
                    <a:gd name="connsiteY0" fmla="*/ 0 h 634787"/>
                    <a:gd name="connsiteX1" fmla="*/ 1073254 w 1073254"/>
                    <a:gd name="connsiteY1" fmla="*/ 0 h 634787"/>
                    <a:gd name="connsiteX2" fmla="*/ 1073254 w 1073254"/>
                    <a:gd name="connsiteY2" fmla="*/ 15307 h 634787"/>
                    <a:gd name="connsiteX3" fmla="*/ 1068196 w 1073254"/>
                    <a:gd name="connsiteY3" fmla="*/ 0 h 634787"/>
                    <a:gd name="connsiteX4" fmla="*/ 17437 w 1073254"/>
                    <a:gd name="connsiteY4" fmla="*/ 0 h 634787"/>
                    <a:gd name="connsiteX5" fmla="*/ 1001058 w 1073254"/>
                    <a:gd name="connsiteY5" fmla="*/ 0 h 634787"/>
                    <a:gd name="connsiteX6" fmla="*/ 1041400 w 1073254"/>
                    <a:gd name="connsiteY6" fmla="*/ 476037 h 634787"/>
                    <a:gd name="connsiteX7" fmla="*/ 808038 w 1073254"/>
                    <a:gd name="connsiteY7" fmla="*/ 571287 h 634787"/>
                    <a:gd name="connsiteX8" fmla="*/ 685800 w 1073254"/>
                    <a:gd name="connsiteY8" fmla="*/ 69637 h 634787"/>
                    <a:gd name="connsiteX9" fmla="*/ 582613 w 1073254"/>
                    <a:gd name="connsiteY9" fmla="*/ 634787 h 634787"/>
                    <a:gd name="connsiteX10" fmla="*/ 0 w 1073254"/>
                    <a:gd name="connsiteY10" fmla="*/ 463337 h 634787"/>
                    <a:gd name="connsiteX11" fmla="*/ 17437 w 1073254"/>
                    <a:gd name="connsiteY11" fmla="*/ 0 h 634787"/>
                    <a:gd name="connsiteX0" fmla="*/ 1063433 w 1068491"/>
                    <a:gd name="connsiteY0" fmla="*/ 0 h 634787"/>
                    <a:gd name="connsiteX1" fmla="*/ 1068491 w 1068491"/>
                    <a:gd name="connsiteY1" fmla="*/ 0 h 634787"/>
                    <a:gd name="connsiteX2" fmla="*/ 1068491 w 1068491"/>
                    <a:gd name="connsiteY2" fmla="*/ 15307 h 634787"/>
                    <a:gd name="connsiteX3" fmla="*/ 1063433 w 1068491"/>
                    <a:gd name="connsiteY3" fmla="*/ 0 h 634787"/>
                    <a:gd name="connsiteX4" fmla="*/ 12674 w 1068491"/>
                    <a:gd name="connsiteY4" fmla="*/ 0 h 634787"/>
                    <a:gd name="connsiteX5" fmla="*/ 996295 w 1068491"/>
                    <a:gd name="connsiteY5" fmla="*/ 0 h 634787"/>
                    <a:gd name="connsiteX6" fmla="*/ 1036637 w 1068491"/>
                    <a:gd name="connsiteY6" fmla="*/ 476037 h 634787"/>
                    <a:gd name="connsiteX7" fmla="*/ 803275 w 1068491"/>
                    <a:gd name="connsiteY7" fmla="*/ 571287 h 634787"/>
                    <a:gd name="connsiteX8" fmla="*/ 681037 w 1068491"/>
                    <a:gd name="connsiteY8" fmla="*/ 69637 h 634787"/>
                    <a:gd name="connsiteX9" fmla="*/ 577850 w 1068491"/>
                    <a:gd name="connsiteY9" fmla="*/ 634787 h 634787"/>
                    <a:gd name="connsiteX10" fmla="*/ 0 w 1068491"/>
                    <a:gd name="connsiteY10" fmla="*/ 501437 h 634787"/>
                    <a:gd name="connsiteX11" fmla="*/ 12674 w 1068491"/>
                    <a:gd name="connsiteY11" fmla="*/ 0 h 634787"/>
                    <a:gd name="connsiteX0" fmla="*/ 1063433 w 1068491"/>
                    <a:gd name="connsiteY0" fmla="*/ 0 h 634787"/>
                    <a:gd name="connsiteX1" fmla="*/ 1068491 w 1068491"/>
                    <a:gd name="connsiteY1" fmla="*/ 0 h 634787"/>
                    <a:gd name="connsiteX2" fmla="*/ 1068491 w 1068491"/>
                    <a:gd name="connsiteY2" fmla="*/ 15307 h 634787"/>
                    <a:gd name="connsiteX3" fmla="*/ 1063433 w 1068491"/>
                    <a:gd name="connsiteY3" fmla="*/ 0 h 634787"/>
                    <a:gd name="connsiteX4" fmla="*/ 12674 w 1068491"/>
                    <a:gd name="connsiteY4" fmla="*/ 0 h 634787"/>
                    <a:gd name="connsiteX5" fmla="*/ 996295 w 1068491"/>
                    <a:gd name="connsiteY5" fmla="*/ 0 h 634787"/>
                    <a:gd name="connsiteX6" fmla="*/ 1031875 w 1068491"/>
                    <a:gd name="connsiteY6" fmla="*/ 499850 h 634787"/>
                    <a:gd name="connsiteX7" fmla="*/ 803275 w 1068491"/>
                    <a:gd name="connsiteY7" fmla="*/ 571287 h 634787"/>
                    <a:gd name="connsiteX8" fmla="*/ 681037 w 1068491"/>
                    <a:gd name="connsiteY8" fmla="*/ 69637 h 634787"/>
                    <a:gd name="connsiteX9" fmla="*/ 577850 w 1068491"/>
                    <a:gd name="connsiteY9" fmla="*/ 634787 h 634787"/>
                    <a:gd name="connsiteX10" fmla="*/ 0 w 1068491"/>
                    <a:gd name="connsiteY10" fmla="*/ 501437 h 634787"/>
                    <a:gd name="connsiteX11" fmla="*/ 12674 w 1068491"/>
                    <a:gd name="connsiteY11" fmla="*/ 0 h 634787"/>
                    <a:gd name="connsiteX0" fmla="*/ 1063433 w 1068491"/>
                    <a:gd name="connsiteY0" fmla="*/ 0 h 634787"/>
                    <a:gd name="connsiteX1" fmla="*/ 1068491 w 1068491"/>
                    <a:gd name="connsiteY1" fmla="*/ 0 h 634787"/>
                    <a:gd name="connsiteX2" fmla="*/ 1068491 w 1068491"/>
                    <a:gd name="connsiteY2" fmla="*/ 15307 h 634787"/>
                    <a:gd name="connsiteX3" fmla="*/ 1063433 w 1068491"/>
                    <a:gd name="connsiteY3" fmla="*/ 0 h 634787"/>
                    <a:gd name="connsiteX4" fmla="*/ 12674 w 1068491"/>
                    <a:gd name="connsiteY4" fmla="*/ 0 h 634787"/>
                    <a:gd name="connsiteX5" fmla="*/ 996295 w 1068491"/>
                    <a:gd name="connsiteY5" fmla="*/ 0 h 634787"/>
                    <a:gd name="connsiteX6" fmla="*/ 1031875 w 1068491"/>
                    <a:gd name="connsiteY6" fmla="*/ 499850 h 634787"/>
                    <a:gd name="connsiteX7" fmla="*/ 803275 w 1068491"/>
                    <a:gd name="connsiteY7" fmla="*/ 571287 h 634787"/>
                    <a:gd name="connsiteX8" fmla="*/ 681037 w 1068491"/>
                    <a:gd name="connsiteY8" fmla="*/ 69637 h 634787"/>
                    <a:gd name="connsiteX9" fmla="*/ 587375 w 1068491"/>
                    <a:gd name="connsiteY9" fmla="*/ 634787 h 634787"/>
                    <a:gd name="connsiteX10" fmla="*/ 0 w 1068491"/>
                    <a:gd name="connsiteY10" fmla="*/ 501437 h 634787"/>
                    <a:gd name="connsiteX11" fmla="*/ 12674 w 1068491"/>
                    <a:gd name="connsiteY11" fmla="*/ 0 h 634787"/>
                    <a:gd name="connsiteX0" fmla="*/ 1063433 w 1068491"/>
                    <a:gd name="connsiteY0" fmla="*/ 0 h 635431"/>
                    <a:gd name="connsiteX1" fmla="*/ 1068491 w 1068491"/>
                    <a:gd name="connsiteY1" fmla="*/ 0 h 635431"/>
                    <a:gd name="connsiteX2" fmla="*/ 1068491 w 1068491"/>
                    <a:gd name="connsiteY2" fmla="*/ 15307 h 635431"/>
                    <a:gd name="connsiteX3" fmla="*/ 1063433 w 1068491"/>
                    <a:gd name="connsiteY3" fmla="*/ 0 h 635431"/>
                    <a:gd name="connsiteX4" fmla="*/ 12674 w 1068491"/>
                    <a:gd name="connsiteY4" fmla="*/ 0 h 635431"/>
                    <a:gd name="connsiteX5" fmla="*/ 996295 w 1068491"/>
                    <a:gd name="connsiteY5" fmla="*/ 0 h 635431"/>
                    <a:gd name="connsiteX6" fmla="*/ 1031875 w 1068491"/>
                    <a:gd name="connsiteY6" fmla="*/ 499850 h 635431"/>
                    <a:gd name="connsiteX7" fmla="*/ 803275 w 1068491"/>
                    <a:gd name="connsiteY7" fmla="*/ 571287 h 635431"/>
                    <a:gd name="connsiteX8" fmla="*/ 681037 w 1068491"/>
                    <a:gd name="connsiteY8" fmla="*/ 69637 h 635431"/>
                    <a:gd name="connsiteX9" fmla="*/ 587375 w 1068491"/>
                    <a:gd name="connsiteY9" fmla="*/ 634787 h 635431"/>
                    <a:gd name="connsiteX10" fmla="*/ 0 w 1068491"/>
                    <a:gd name="connsiteY10" fmla="*/ 501437 h 635431"/>
                    <a:gd name="connsiteX11" fmla="*/ 12674 w 1068491"/>
                    <a:gd name="connsiteY11" fmla="*/ 0 h 635431"/>
                    <a:gd name="connsiteX0" fmla="*/ 1063433 w 1068491"/>
                    <a:gd name="connsiteY0" fmla="*/ 0 h 635431"/>
                    <a:gd name="connsiteX1" fmla="*/ 1068491 w 1068491"/>
                    <a:gd name="connsiteY1" fmla="*/ 0 h 635431"/>
                    <a:gd name="connsiteX2" fmla="*/ 1068491 w 1068491"/>
                    <a:gd name="connsiteY2" fmla="*/ 15307 h 635431"/>
                    <a:gd name="connsiteX3" fmla="*/ 1063433 w 1068491"/>
                    <a:gd name="connsiteY3" fmla="*/ 0 h 635431"/>
                    <a:gd name="connsiteX4" fmla="*/ 12674 w 1068491"/>
                    <a:gd name="connsiteY4" fmla="*/ 0 h 635431"/>
                    <a:gd name="connsiteX5" fmla="*/ 996295 w 1068491"/>
                    <a:gd name="connsiteY5" fmla="*/ 0 h 635431"/>
                    <a:gd name="connsiteX6" fmla="*/ 1031875 w 1068491"/>
                    <a:gd name="connsiteY6" fmla="*/ 499850 h 635431"/>
                    <a:gd name="connsiteX7" fmla="*/ 803275 w 1068491"/>
                    <a:gd name="connsiteY7" fmla="*/ 571287 h 635431"/>
                    <a:gd name="connsiteX8" fmla="*/ 681037 w 1068491"/>
                    <a:gd name="connsiteY8" fmla="*/ 69637 h 635431"/>
                    <a:gd name="connsiteX9" fmla="*/ 587375 w 1068491"/>
                    <a:gd name="connsiteY9" fmla="*/ 634787 h 635431"/>
                    <a:gd name="connsiteX10" fmla="*/ 0 w 1068491"/>
                    <a:gd name="connsiteY10" fmla="*/ 501437 h 635431"/>
                    <a:gd name="connsiteX11" fmla="*/ 12674 w 1068491"/>
                    <a:gd name="connsiteY11" fmla="*/ 0 h 635431"/>
                    <a:gd name="connsiteX0" fmla="*/ 1063433 w 1068491"/>
                    <a:gd name="connsiteY0" fmla="*/ 0 h 635431"/>
                    <a:gd name="connsiteX1" fmla="*/ 1068491 w 1068491"/>
                    <a:gd name="connsiteY1" fmla="*/ 0 h 635431"/>
                    <a:gd name="connsiteX2" fmla="*/ 1068491 w 1068491"/>
                    <a:gd name="connsiteY2" fmla="*/ 15307 h 635431"/>
                    <a:gd name="connsiteX3" fmla="*/ 1063433 w 1068491"/>
                    <a:gd name="connsiteY3" fmla="*/ 0 h 635431"/>
                    <a:gd name="connsiteX4" fmla="*/ 12674 w 1068491"/>
                    <a:gd name="connsiteY4" fmla="*/ 0 h 635431"/>
                    <a:gd name="connsiteX5" fmla="*/ 996295 w 1068491"/>
                    <a:gd name="connsiteY5" fmla="*/ 0 h 635431"/>
                    <a:gd name="connsiteX6" fmla="*/ 1031875 w 1068491"/>
                    <a:gd name="connsiteY6" fmla="*/ 499850 h 635431"/>
                    <a:gd name="connsiteX7" fmla="*/ 803275 w 1068491"/>
                    <a:gd name="connsiteY7" fmla="*/ 571287 h 635431"/>
                    <a:gd name="connsiteX8" fmla="*/ 681037 w 1068491"/>
                    <a:gd name="connsiteY8" fmla="*/ 69637 h 635431"/>
                    <a:gd name="connsiteX9" fmla="*/ 587375 w 1068491"/>
                    <a:gd name="connsiteY9" fmla="*/ 634787 h 635431"/>
                    <a:gd name="connsiteX10" fmla="*/ 0 w 1068491"/>
                    <a:gd name="connsiteY10" fmla="*/ 501437 h 635431"/>
                    <a:gd name="connsiteX11" fmla="*/ 12674 w 1068491"/>
                    <a:gd name="connsiteY11" fmla="*/ 0 h 635431"/>
                    <a:gd name="connsiteX0" fmla="*/ 1063433 w 1068491"/>
                    <a:gd name="connsiteY0" fmla="*/ 0 h 635431"/>
                    <a:gd name="connsiteX1" fmla="*/ 1068491 w 1068491"/>
                    <a:gd name="connsiteY1" fmla="*/ 0 h 635431"/>
                    <a:gd name="connsiteX2" fmla="*/ 1068491 w 1068491"/>
                    <a:gd name="connsiteY2" fmla="*/ 15307 h 635431"/>
                    <a:gd name="connsiteX3" fmla="*/ 1063433 w 1068491"/>
                    <a:gd name="connsiteY3" fmla="*/ 0 h 635431"/>
                    <a:gd name="connsiteX4" fmla="*/ 12674 w 1068491"/>
                    <a:gd name="connsiteY4" fmla="*/ 0 h 635431"/>
                    <a:gd name="connsiteX5" fmla="*/ 996295 w 1068491"/>
                    <a:gd name="connsiteY5" fmla="*/ 0 h 635431"/>
                    <a:gd name="connsiteX6" fmla="*/ 1031875 w 1068491"/>
                    <a:gd name="connsiteY6" fmla="*/ 499850 h 635431"/>
                    <a:gd name="connsiteX7" fmla="*/ 803275 w 1068491"/>
                    <a:gd name="connsiteY7" fmla="*/ 571287 h 635431"/>
                    <a:gd name="connsiteX8" fmla="*/ 681037 w 1068491"/>
                    <a:gd name="connsiteY8" fmla="*/ 69637 h 635431"/>
                    <a:gd name="connsiteX9" fmla="*/ 587375 w 1068491"/>
                    <a:gd name="connsiteY9" fmla="*/ 634787 h 635431"/>
                    <a:gd name="connsiteX10" fmla="*/ 0 w 1068491"/>
                    <a:gd name="connsiteY10" fmla="*/ 501437 h 635431"/>
                    <a:gd name="connsiteX11" fmla="*/ 12674 w 1068491"/>
                    <a:gd name="connsiteY11" fmla="*/ 0 h 63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8491" h="635431">
                      <a:moveTo>
                        <a:pt x="1063433" y="0"/>
                      </a:moveTo>
                      <a:lnTo>
                        <a:pt x="1068491" y="0"/>
                      </a:lnTo>
                      <a:lnTo>
                        <a:pt x="1068491" y="15307"/>
                      </a:lnTo>
                      <a:lnTo>
                        <a:pt x="1063433" y="0"/>
                      </a:lnTo>
                      <a:close/>
                      <a:moveTo>
                        <a:pt x="12674" y="0"/>
                      </a:moveTo>
                      <a:lnTo>
                        <a:pt x="996295" y="0"/>
                      </a:lnTo>
                      <a:lnTo>
                        <a:pt x="1031875" y="499850"/>
                      </a:lnTo>
                      <a:cubicBezTo>
                        <a:pt x="955675" y="523662"/>
                        <a:pt x="889000" y="576050"/>
                        <a:pt x="803275" y="571287"/>
                      </a:cubicBezTo>
                      <a:cubicBezTo>
                        <a:pt x="724429" y="404070"/>
                        <a:pt x="721783" y="236854"/>
                        <a:pt x="681037" y="69637"/>
                      </a:cubicBezTo>
                      <a:cubicBezTo>
                        <a:pt x="649816" y="258020"/>
                        <a:pt x="640821" y="449579"/>
                        <a:pt x="587375" y="634787"/>
                      </a:cubicBezTo>
                      <a:cubicBezTo>
                        <a:pt x="404283" y="644312"/>
                        <a:pt x="195792" y="545887"/>
                        <a:pt x="0" y="501437"/>
                      </a:cubicBezTo>
                      <a:lnTo>
                        <a:pt x="12674" y="0"/>
                      </a:lnTo>
                      <a:close/>
                    </a:path>
                  </a:pathLst>
                </a:custGeom>
                <a:solidFill>
                  <a:srgbClr val="B5B6B8"/>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91" name="Прямоугольник 290"/>
                <p:cNvSpPr/>
                <p:nvPr/>
              </p:nvSpPr>
              <p:spPr>
                <a:xfrm>
                  <a:off x="8025756" y="2328424"/>
                  <a:ext cx="181003" cy="679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292" name="Группа 291"/>
                <p:cNvGrpSpPr/>
                <p:nvPr/>
              </p:nvGrpSpPr>
              <p:grpSpPr>
                <a:xfrm>
                  <a:off x="6420928" y="3317240"/>
                  <a:ext cx="1047737" cy="1312715"/>
                  <a:chOff x="3481404" y="4442916"/>
                  <a:chExt cx="1047734" cy="1312714"/>
                </a:xfrm>
              </p:grpSpPr>
              <p:sp>
                <p:nvSpPr>
                  <p:cNvPr id="306" name="Прямоугольник 28"/>
                  <p:cNvSpPr/>
                  <p:nvPr/>
                </p:nvSpPr>
                <p:spPr>
                  <a:xfrm>
                    <a:off x="3481404" y="4510087"/>
                    <a:ext cx="838200" cy="1238255"/>
                  </a:xfrm>
                  <a:custGeom>
                    <a:avLst/>
                    <a:gdLst>
                      <a:gd name="connsiteX0" fmla="*/ 0 w 76200"/>
                      <a:gd name="connsiteY0" fmla="*/ 0 h 438150"/>
                      <a:gd name="connsiteX1" fmla="*/ 76200 w 76200"/>
                      <a:gd name="connsiteY1" fmla="*/ 0 h 438150"/>
                      <a:gd name="connsiteX2" fmla="*/ 76200 w 76200"/>
                      <a:gd name="connsiteY2" fmla="*/ 438150 h 438150"/>
                      <a:gd name="connsiteX3" fmla="*/ 0 w 76200"/>
                      <a:gd name="connsiteY3" fmla="*/ 438150 h 438150"/>
                      <a:gd name="connsiteX4" fmla="*/ 0 w 76200"/>
                      <a:gd name="connsiteY4" fmla="*/ 0 h 438150"/>
                      <a:gd name="connsiteX0" fmla="*/ 719137 w 795337"/>
                      <a:gd name="connsiteY0" fmla="*/ 0 h 438150"/>
                      <a:gd name="connsiteX1" fmla="*/ 795337 w 795337"/>
                      <a:gd name="connsiteY1" fmla="*/ 0 h 438150"/>
                      <a:gd name="connsiteX2" fmla="*/ 795337 w 795337"/>
                      <a:gd name="connsiteY2" fmla="*/ 438150 h 438150"/>
                      <a:gd name="connsiteX3" fmla="*/ 0 w 795337"/>
                      <a:gd name="connsiteY3" fmla="*/ 4762 h 438150"/>
                      <a:gd name="connsiteX4" fmla="*/ 719137 w 795337"/>
                      <a:gd name="connsiteY4" fmla="*/ 0 h 438150"/>
                      <a:gd name="connsiteX0" fmla="*/ 80962 w 795337"/>
                      <a:gd name="connsiteY0" fmla="*/ 0 h 1243013"/>
                      <a:gd name="connsiteX1" fmla="*/ 795337 w 795337"/>
                      <a:gd name="connsiteY1" fmla="*/ 804863 h 1243013"/>
                      <a:gd name="connsiteX2" fmla="*/ 795337 w 795337"/>
                      <a:gd name="connsiteY2" fmla="*/ 1243013 h 1243013"/>
                      <a:gd name="connsiteX3" fmla="*/ 0 w 795337"/>
                      <a:gd name="connsiteY3" fmla="*/ 809625 h 1243013"/>
                      <a:gd name="connsiteX4" fmla="*/ 80962 w 795337"/>
                      <a:gd name="connsiteY4" fmla="*/ 0 h 1243013"/>
                      <a:gd name="connsiteX0" fmla="*/ 80962 w 838200"/>
                      <a:gd name="connsiteY0" fmla="*/ 0 h 1243013"/>
                      <a:gd name="connsiteX1" fmla="*/ 838200 w 838200"/>
                      <a:gd name="connsiteY1" fmla="*/ 481013 h 1243013"/>
                      <a:gd name="connsiteX2" fmla="*/ 795337 w 838200"/>
                      <a:gd name="connsiteY2" fmla="*/ 1243013 h 1243013"/>
                      <a:gd name="connsiteX3" fmla="*/ 0 w 838200"/>
                      <a:gd name="connsiteY3" fmla="*/ 809625 h 1243013"/>
                      <a:gd name="connsiteX4" fmla="*/ 80962 w 838200"/>
                      <a:gd name="connsiteY4" fmla="*/ 0 h 1243013"/>
                      <a:gd name="connsiteX0" fmla="*/ 61912 w 838200"/>
                      <a:gd name="connsiteY0" fmla="*/ 0 h 1238251"/>
                      <a:gd name="connsiteX1" fmla="*/ 838200 w 838200"/>
                      <a:gd name="connsiteY1" fmla="*/ 476251 h 1238251"/>
                      <a:gd name="connsiteX2" fmla="*/ 795337 w 838200"/>
                      <a:gd name="connsiteY2" fmla="*/ 1238251 h 1238251"/>
                      <a:gd name="connsiteX3" fmla="*/ 0 w 838200"/>
                      <a:gd name="connsiteY3" fmla="*/ 804863 h 1238251"/>
                      <a:gd name="connsiteX4" fmla="*/ 61912 w 838200"/>
                      <a:gd name="connsiteY4" fmla="*/ 0 h 1238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200" h="1238251">
                        <a:moveTo>
                          <a:pt x="61912" y="0"/>
                        </a:moveTo>
                        <a:lnTo>
                          <a:pt x="838200" y="476251"/>
                        </a:lnTo>
                        <a:lnTo>
                          <a:pt x="795337" y="1238251"/>
                        </a:lnTo>
                        <a:lnTo>
                          <a:pt x="0" y="804863"/>
                        </a:lnTo>
                        <a:lnTo>
                          <a:pt x="61912" y="0"/>
                        </a:lnTo>
                        <a:close/>
                      </a:path>
                    </a:pathLst>
                  </a:custGeom>
                  <a:solidFill>
                    <a:srgbClr val="795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07" name="Прямоугольник 28"/>
                  <p:cNvSpPr/>
                  <p:nvPr/>
                </p:nvSpPr>
                <p:spPr>
                  <a:xfrm>
                    <a:off x="3514492" y="4510087"/>
                    <a:ext cx="804865" cy="857253"/>
                  </a:xfrm>
                  <a:custGeom>
                    <a:avLst/>
                    <a:gdLst>
                      <a:gd name="connsiteX0" fmla="*/ 0 w 76200"/>
                      <a:gd name="connsiteY0" fmla="*/ 0 h 438150"/>
                      <a:gd name="connsiteX1" fmla="*/ 76200 w 76200"/>
                      <a:gd name="connsiteY1" fmla="*/ 0 h 438150"/>
                      <a:gd name="connsiteX2" fmla="*/ 76200 w 76200"/>
                      <a:gd name="connsiteY2" fmla="*/ 438150 h 438150"/>
                      <a:gd name="connsiteX3" fmla="*/ 0 w 76200"/>
                      <a:gd name="connsiteY3" fmla="*/ 438150 h 438150"/>
                      <a:gd name="connsiteX4" fmla="*/ 0 w 76200"/>
                      <a:gd name="connsiteY4" fmla="*/ 0 h 438150"/>
                      <a:gd name="connsiteX0" fmla="*/ 719137 w 795337"/>
                      <a:gd name="connsiteY0" fmla="*/ 0 h 438150"/>
                      <a:gd name="connsiteX1" fmla="*/ 795337 w 795337"/>
                      <a:gd name="connsiteY1" fmla="*/ 0 h 438150"/>
                      <a:gd name="connsiteX2" fmla="*/ 795337 w 795337"/>
                      <a:gd name="connsiteY2" fmla="*/ 438150 h 438150"/>
                      <a:gd name="connsiteX3" fmla="*/ 0 w 795337"/>
                      <a:gd name="connsiteY3" fmla="*/ 4762 h 438150"/>
                      <a:gd name="connsiteX4" fmla="*/ 719137 w 795337"/>
                      <a:gd name="connsiteY4" fmla="*/ 0 h 438150"/>
                      <a:gd name="connsiteX0" fmla="*/ 80962 w 795337"/>
                      <a:gd name="connsiteY0" fmla="*/ 0 h 1243013"/>
                      <a:gd name="connsiteX1" fmla="*/ 795337 w 795337"/>
                      <a:gd name="connsiteY1" fmla="*/ 804863 h 1243013"/>
                      <a:gd name="connsiteX2" fmla="*/ 795337 w 795337"/>
                      <a:gd name="connsiteY2" fmla="*/ 1243013 h 1243013"/>
                      <a:gd name="connsiteX3" fmla="*/ 0 w 795337"/>
                      <a:gd name="connsiteY3" fmla="*/ 809625 h 1243013"/>
                      <a:gd name="connsiteX4" fmla="*/ 80962 w 795337"/>
                      <a:gd name="connsiteY4" fmla="*/ 0 h 1243013"/>
                      <a:gd name="connsiteX0" fmla="*/ 80962 w 838200"/>
                      <a:gd name="connsiteY0" fmla="*/ 0 h 1243013"/>
                      <a:gd name="connsiteX1" fmla="*/ 838200 w 838200"/>
                      <a:gd name="connsiteY1" fmla="*/ 481013 h 1243013"/>
                      <a:gd name="connsiteX2" fmla="*/ 795337 w 838200"/>
                      <a:gd name="connsiteY2" fmla="*/ 1243013 h 1243013"/>
                      <a:gd name="connsiteX3" fmla="*/ 0 w 838200"/>
                      <a:gd name="connsiteY3" fmla="*/ 809625 h 1243013"/>
                      <a:gd name="connsiteX4" fmla="*/ 80962 w 838200"/>
                      <a:gd name="connsiteY4" fmla="*/ 0 h 1243013"/>
                      <a:gd name="connsiteX0" fmla="*/ 61912 w 838200"/>
                      <a:gd name="connsiteY0" fmla="*/ 0 h 1238251"/>
                      <a:gd name="connsiteX1" fmla="*/ 838200 w 838200"/>
                      <a:gd name="connsiteY1" fmla="*/ 476251 h 1238251"/>
                      <a:gd name="connsiteX2" fmla="*/ 795337 w 838200"/>
                      <a:gd name="connsiteY2" fmla="*/ 1238251 h 1238251"/>
                      <a:gd name="connsiteX3" fmla="*/ 0 w 838200"/>
                      <a:gd name="connsiteY3" fmla="*/ 804863 h 1238251"/>
                      <a:gd name="connsiteX4" fmla="*/ 61912 w 838200"/>
                      <a:gd name="connsiteY4" fmla="*/ 0 h 1238251"/>
                      <a:gd name="connsiteX0" fmla="*/ 28574 w 804862"/>
                      <a:gd name="connsiteY0" fmla="*/ 0 h 1238251"/>
                      <a:gd name="connsiteX1" fmla="*/ 804862 w 804862"/>
                      <a:gd name="connsiteY1" fmla="*/ 476251 h 1238251"/>
                      <a:gd name="connsiteX2" fmla="*/ 761999 w 804862"/>
                      <a:gd name="connsiteY2" fmla="*/ 1238251 h 1238251"/>
                      <a:gd name="connsiteX3" fmla="*/ 0 w 804862"/>
                      <a:gd name="connsiteY3" fmla="*/ 442913 h 1238251"/>
                      <a:gd name="connsiteX4" fmla="*/ 28574 w 804862"/>
                      <a:gd name="connsiteY4" fmla="*/ 0 h 1238251"/>
                      <a:gd name="connsiteX0" fmla="*/ 28574 w 804862"/>
                      <a:gd name="connsiteY0" fmla="*/ 0 h 785813"/>
                      <a:gd name="connsiteX1" fmla="*/ 804862 w 804862"/>
                      <a:gd name="connsiteY1" fmla="*/ 476251 h 785813"/>
                      <a:gd name="connsiteX2" fmla="*/ 795336 w 804862"/>
                      <a:gd name="connsiteY2" fmla="*/ 785813 h 785813"/>
                      <a:gd name="connsiteX3" fmla="*/ 0 w 804862"/>
                      <a:gd name="connsiteY3" fmla="*/ 442913 h 785813"/>
                      <a:gd name="connsiteX4" fmla="*/ 28574 w 804862"/>
                      <a:gd name="connsiteY4" fmla="*/ 0 h 785813"/>
                      <a:gd name="connsiteX0" fmla="*/ 28574 w 804862"/>
                      <a:gd name="connsiteY0" fmla="*/ 0 h 809626"/>
                      <a:gd name="connsiteX1" fmla="*/ 804862 w 804862"/>
                      <a:gd name="connsiteY1" fmla="*/ 476251 h 809626"/>
                      <a:gd name="connsiteX2" fmla="*/ 638173 w 804862"/>
                      <a:gd name="connsiteY2" fmla="*/ 809626 h 809626"/>
                      <a:gd name="connsiteX3" fmla="*/ 0 w 804862"/>
                      <a:gd name="connsiteY3" fmla="*/ 442913 h 809626"/>
                      <a:gd name="connsiteX4" fmla="*/ 28574 w 804862"/>
                      <a:gd name="connsiteY4" fmla="*/ 0 h 809626"/>
                      <a:gd name="connsiteX0" fmla="*/ 28574 w 804862"/>
                      <a:gd name="connsiteY0" fmla="*/ 0 h 857251"/>
                      <a:gd name="connsiteX1" fmla="*/ 804862 w 804862"/>
                      <a:gd name="connsiteY1" fmla="*/ 476251 h 857251"/>
                      <a:gd name="connsiteX2" fmla="*/ 781048 w 804862"/>
                      <a:gd name="connsiteY2" fmla="*/ 857251 h 857251"/>
                      <a:gd name="connsiteX3" fmla="*/ 0 w 804862"/>
                      <a:gd name="connsiteY3" fmla="*/ 442913 h 857251"/>
                      <a:gd name="connsiteX4" fmla="*/ 28574 w 804862"/>
                      <a:gd name="connsiteY4" fmla="*/ 0 h 857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862" h="857251">
                        <a:moveTo>
                          <a:pt x="28574" y="0"/>
                        </a:moveTo>
                        <a:lnTo>
                          <a:pt x="804862" y="476251"/>
                        </a:lnTo>
                        <a:lnTo>
                          <a:pt x="781048" y="857251"/>
                        </a:lnTo>
                        <a:lnTo>
                          <a:pt x="0" y="442913"/>
                        </a:lnTo>
                        <a:lnTo>
                          <a:pt x="28574" y="0"/>
                        </a:lnTo>
                        <a:close/>
                      </a:path>
                    </a:pathLst>
                  </a:custGeom>
                  <a:solidFill>
                    <a:srgbClr val="8B5F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08" name="Полилиния 307"/>
                  <p:cNvSpPr/>
                  <p:nvPr/>
                </p:nvSpPr>
                <p:spPr>
                  <a:xfrm>
                    <a:off x="3541287" y="4442916"/>
                    <a:ext cx="920544" cy="582196"/>
                  </a:xfrm>
                  <a:custGeom>
                    <a:avLst/>
                    <a:gdLst>
                      <a:gd name="connsiteX0" fmla="*/ 891452 w 920543"/>
                      <a:gd name="connsiteY0" fmla="*/ 444038 h 582195"/>
                      <a:gd name="connsiteX1" fmla="*/ 891682 w 920543"/>
                      <a:gd name="connsiteY1" fmla="*/ 444481 h 582195"/>
                      <a:gd name="connsiteX2" fmla="*/ 890220 w 920543"/>
                      <a:gd name="connsiteY2" fmla="*/ 445790 h 582195"/>
                      <a:gd name="connsiteX3" fmla="*/ 886449 w 920543"/>
                      <a:gd name="connsiteY3" fmla="*/ 434560 h 582195"/>
                      <a:gd name="connsiteX4" fmla="*/ 902126 w 920543"/>
                      <a:gd name="connsiteY4" fmla="*/ 436265 h 582195"/>
                      <a:gd name="connsiteX5" fmla="*/ 892248 w 920543"/>
                      <a:gd name="connsiteY5" fmla="*/ 442907 h 582195"/>
                      <a:gd name="connsiteX6" fmla="*/ 891452 w 920543"/>
                      <a:gd name="connsiteY6" fmla="*/ 444038 h 582195"/>
                      <a:gd name="connsiteX7" fmla="*/ 887668 w 920543"/>
                      <a:gd name="connsiteY7" fmla="*/ 436743 h 582195"/>
                      <a:gd name="connsiteX8" fmla="*/ 147637 w 920543"/>
                      <a:gd name="connsiteY8" fmla="*/ 0 h 582195"/>
                      <a:gd name="connsiteX9" fmla="*/ 900113 w 920543"/>
                      <a:gd name="connsiteY9" fmla="*/ 428626 h 582195"/>
                      <a:gd name="connsiteX10" fmla="*/ 920362 w 920543"/>
                      <a:gd name="connsiteY10" fmla="*/ 440419 h 582195"/>
                      <a:gd name="connsiteX11" fmla="*/ 920543 w 920543"/>
                      <a:gd name="connsiteY11" fmla="*/ 442153 h 582195"/>
                      <a:gd name="connsiteX12" fmla="*/ 903170 w 920543"/>
                      <a:gd name="connsiteY12" fmla="*/ 432705 h 582195"/>
                      <a:gd name="connsiteX13" fmla="*/ 880696 w 920543"/>
                      <a:gd name="connsiteY13" fmla="*/ 421978 h 582195"/>
                      <a:gd name="connsiteX14" fmla="*/ 882549 w 920543"/>
                      <a:gd name="connsiteY14" fmla="*/ 427576 h 582195"/>
                      <a:gd name="connsiteX15" fmla="*/ 886449 w 920543"/>
                      <a:gd name="connsiteY15" fmla="*/ 434560 h 582195"/>
                      <a:gd name="connsiteX16" fmla="*/ 859711 w 920543"/>
                      <a:gd name="connsiteY16" fmla="*/ 431652 h 582195"/>
                      <a:gd name="connsiteX17" fmla="*/ 814020 w 920543"/>
                      <a:gd name="connsiteY17" fmla="*/ 433884 h 582195"/>
                      <a:gd name="connsiteX18" fmla="*/ 764014 w 920543"/>
                      <a:gd name="connsiteY18" fmla="*/ 486271 h 582195"/>
                      <a:gd name="connsiteX19" fmla="*/ 760122 w 920543"/>
                      <a:gd name="connsiteY19" fmla="*/ 513389 h 582195"/>
                      <a:gd name="connsiteX20" fmla="*/ 757493 w 920543"/>
                      <a:gd name="connsiteY20" fmla="*/ 528044 h 582195"/>
                      <a:gd name="connsiteX21" fmla="*/ 741443 w 920543"/>
                      <a:gd name="connsiteY21" fmla="*/ 516393 h 582195"/>
                      <a:gd name="connsiteX22" fmla="*/ 733059 w 920543"/>
                      <a:gd name="connsiteY22" fmla="*/ 510084 h 582195"/>
                      <a:gd name="connsiteX23" fmla="*/ 756870 w 920543"/>
                      <a:gd name="connsiteY23" fmla="*/ 531515 h 582195"/>
                      <a:gd name="connsiteX24" fmla="*/ 757493 w 920543"/>
                      <a:gd name="connsiteY24" fmla="*/ 528044 h 582195"/>
                      <a:gd name="connsiteX25" fmla="*/ 760369 w 920543"/>
                      <a:gd name="connsiteY25" fmla="*/ 530131 h 582195"/>
                      <a:gd name="connsiteX26" fmla="*/ 776287 w 920543"/>
                      <a:gd name="connsiteY26" fmla="*/ 552451 h 582195"/>
                      <a:gd name="connsiteX27" fmla="*/ 0 w 920543"/>
                      <a:gd name="connsiteY27" fmla="*/ 71438 h 58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20543" h="582195">
                        <a:moveTo>
                          <a:pt x="891452" y="444038"/>
                        </a:moveTo>
                        <a:lnTo>
                          <a:pt x="891682" y="444481"/>
                        </a:lnTo>
                        <a:cubicBezTo>
                          <a:pt x="892350" y="446267"/>
                          <a:pt x="892105" y="446981"/>
                          <a:pt x="890220" y="445790"/>
                        </a:cubicBezTo>
                        <a:close/>
                        <a:moveTo>
                          <a:pt x="886449" y="434560"/>
                        </a:moveTo>
                        <a:lnTo>
                          <a:pt x="902126" y="436265"/>
                        </a:lnTo>
                        <a:cubicBezTo>
                          <a:pt x="919985" y="439540"/>
                          <a:pt x="900117" y="440582"/>
                          <a:pt x="892248" y="442907"/>
                        </a:cubicBezTo>
                        <a:lnTo>
                          <a:pt x="891452" y="444038"/>
                        </a:lnTo>
                        <a:lnTo>
                          <a:pt x="887668" y="436743"/>
                        </a:lnTo>
                        <a:close/>
                        <a:moveTo>
                          <a:pt x="147637" y="0"/>
                        </a:moveTo>
                        <a:lnTo>
                          <a:pt x="900113" y="428626"/>
                        </a:lnTo>
                        <a:lnTo>
                          <a:pt x="920362" y="440419"/>
                        </a:lnTo>
                        <a:lnTo>
                          <a:pt x="920543" y="442153"/>
                        </a:lnTo>
                        <a:lnTo>
                          <a:pt x="903170" y="432705"/>
                        </a:lnTo>
                        <a:cubicBezTo>
                          <a:pt x="890859" y="426163"/>
                          <a:pt x="881109" y="421263"/>
                          <a:pt x="880696" y="421978"/>
                        </a:cubicBezTo>
                        <a:cubicBezTo>
                          <a:pt x="880284" y="422693"/>
                          <a:pt x="881144" y="424837"/>
                          <a:pt x="882549" y="427576"/>
                        </a:cubicBezTo>
                        <a:lnTo>
                          <a:pt x="886449" y="434560"/>
                        </a:lnTo>
                        <a:lnTo>
                          <a:pt x="859711" y="431652"/>
                        </a:lnTo>
                        <a:cubicBezTo>
                          <a:pt x="844183" y="431007"/>
                          <a:pt x="828109" y="431503"/>
                          <a:pt x="814020" y="433884"/>
                        </a:cubicBezTo>
                        <a:cubicBezTo>
                          <a:pt x="804037" y="454207"/>
                          <a:pt x="770303" y="466510"/>
                          <a:pt x="764014" y="486271"/>
                        </a:cubicBezTo>
                        <a:cubicBezTo>
                          <a:pt x="764610" y="497781"/>
                          <a:pt x="762312" y="506334"/>
                          <a:pt x="760122" y="513389"/>
                        </a:cubicBezTo>
                        <a:lnTo>
                          <a:pt x="757493" y="528044"/>
                        </a:lnTo>
                        <a:lnTo>
                          <a:pt x="741443" y="516393"/>
                        </a:lnTo>
                        <a:cubicBezTo>
                          <a:pt x="736575" y="512838"/>
                          <a:pt x="733464" y="510520"/>
                          <a:pt x="733059" y="510084"/>
                        </a:cubicBezTo>
                        <a:cubicBezTo>
                          <a:pt x="729823" y="506595"/>
                          <a:pt x="765998" y="547390"/>
                          <a:pt x="756870" y="531515"/>
                        </a:cubicBezTo>
                        <a:lnTo>
                          <a:pt x="757493" y="528044"/>
                        </a:lnTo>
                        <a:lnTo>
                          <a:pt x="760369" y="530131"/>
                        </a:lnTo>
                        <a:cubicBezTo>
                          <a:pt x="804966" y="562463"/>
                          <a:pt x="878635" y="616212"/>
                          <a:pt x="776287" y="552451"/>
                        </a:cubicBezTo>
                        <a:lnTo>
                          <a:pt x="0" y="71438"/>
                        </a:lnTo>
                        <a:close/>
                      </a:path>
                    </a:pathLst>
                  </a:custGeom>
                  <a:solidFill>
                    <a:srgbClr val="9D7A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09" name="Прямоугольник 26"/>
                  <p:cNvSpPr/>
                  <p:nvPr/>
                </p:nvSpPr>
                <p:spPr>
                  <a:xfrm>
                    <a:off x="4281490" y="4869806"/>
                    <a:ext cx="247648" cy="885824"/>
                  </a:xfrm>
                  <a:custGeom>
                    <a:avLst/>
                    <a:gdLst>
                      <a:gd name="connsiteX0" fmla="*/ 0 w 654050"/>
                      <a:gd name="connsiteY0" fmla="*/ 0 h 876300"/>
                      <a:gd name="connsiteX1" fmla="*/ 654050 w 654050"/>
                      <a:gd name="connsiteY1" fmla="*/ 0 h 876300"/>
                      <a:gd name="connsiteX2" fmla="*/ 654050 w 654050"/>
                      <a:gd name="connsiteY2" fmla="*/ 876300 h 876300"/>
                      <a:gd name="connsiteX3" fmla="*/ 0 w 654050"/>
                      <a:gd name="connsiteY3" fmla="*/ 876300 h 876300"/>
                      <a:gd name="connsiteX4" fmla="*/ 0 w 654050"/>
                      <a:gd name="connsiteY4" fmla="*/ 0 h 876300"/>
                      <a:gd name="connsiteX0" fmla="*/ 0 w 1031875"/>
                      <a:gd name="connsiteY0" fmla="*/ 6350 h 876300"/>
                      <a:gd name="connsiteX1" fmla="*/ 1031875 w 1031875"/>
                      <a:gd name="connsiteY1" fmla="*/ 0 h 876300"/>
                      <a:gd name="connsiteX2" fmla="*/ 1031875 w 1031875"/>
                      <a:gd name="connsiteY2" fmla="*/ 876300 h 876300"/>
                      <a:gd name="connsiteX3" fmla="*/ 377825 w 1031875"/>
                      <a:gd name="connsiteY3" fmla="*/ 876300 h 876300"/>
                      <a:gd name="connsiteX4" fmla="*/ 0 w 1031875"/>
                      <a:gd name="connsiteY4" fmla="*/ 6350 h 876300"/>
                      <a:gd name="connsiteX0" fmla="*/ 0 w 1031875"/>
                      <a:gd name="connsiteY0" fmla="*/ 63500 h 933450"/>
                      <a:gd name="connsiteX1" fmla="*/ 161925 w 1031875"/>
                      <a:gd name="connsiteY1" fmla="*/ 0 h 933450"/>
                      <a:gd name="connsiteX2" fmla="*/ 1031875 w 1031875"/>
                      <a:gd name="connsiteY2" fmla="*/ 933450 h 933450"/>
                      <a:gd name="connsiteX3" fmla="*/ 377825 w 1031875"/>
                      <a:gd name="connsiteY3" fmla="*/ 933450 h 933450"/>
                      <a:gd name="connsiteX4" fmla="*/ 0 w 1031875"/>
                      <a:gd name="connsiteY4" fmla="*/ 63500 h 933450"/>
                      <a:gd name="connsiteX0" fmla="*/ 15875 w 1047750"/>
                      <a:gd name="connsiteY0" fmla="*/ 63500 h 933450"/>
                      <a:gd name="connsiteX1" fmla="*/ 177800 w 1047750"/>
                      <a:gd name="connsiteY1" fmla="*/ 0 h 933450"/>
                      <a:gd name="connsiteX2" fmla="*/ 1047750 w 1047750"/>
                      <a:gd name="connsiteY2" fmla="*/ 933450 h 933450"/>
                      <a:gd name="connsiteX3" fmla="*/ 0 w 1047750"/>
                      <a:gd name="connsiteY3" fmla="*/ 885825 h 933450"/>
                      <a:gd name="connsiteX4" fmla="*/ 15875 w 1047750"/>
                      <a:gd name="connsiteY4" fmla="*/ 63500 h 933450"/>
                      <a:gd name="connsiteX0" fmla="*/ 15875 w 190500"/>
                      <a:gd name="connsiteY0" fmla="*/ 63500 h 885825"/>
                      <a:gd name="connsiteX1" fmla="*/ 177800 w 190500"/>
                      <a:gd name="connsiteY1" fmla="*/ 0 h 885825"/>
                      <a:gd name="connsiteX2" fmla="*/ 190500 w 190500"/>
                      <a:gd name="connsiteY2" fmla="*/ 746125 h 885825"/>
                      <a:gd name="connsiteX3" fmla="*/ 0 w 190500"/>
                      <a:gd name="connsiteY3" fmla="*/ 885825 h 885825"/>
                      <a:gd name="connsiteX4" fmla="*/ 15875 w 190500"/>
                      <a:gd name="connsiteY4" fmla="*/ 63500 h 885825"/>
                      <a:gd name="connsiteX0" fmla="*/ 15875 w 247650"/>
                      <a:gd name="connsiteY0" fmla="*/ 63500 h 885825"/>
                      <a:gd name="connsiteX1" fmla="*/ 177800 w 247650"/>
                      <a:gd name="connsiteY1" fmla="*/ 0 h 885825"/>
                      <a:gd name="connsiteX2" fmla="*/ 247650 w 247650"/>
                      <a:gd name="connsiteY2" fmla="*/ 838200 h 885825"/>
                      <a:gd name="connsiteX3" fmla="*/ 0 w 247650"/>
                      <a:gd name="connsiteY3" fmla="*/ 885825 h 885825"/>
                      <a:gd name="connsiteX4" fmla="*/ 15875 w 247650"/>
                      <a:gd name="connsiteY4" fmla="*/ 63500 h 885825"/>
                      <a:gd name="connsiteX0" fmla="*/ 15875 w 247650"/>
                      <a:gd name="connsiteY0" fmla="*/ 63500 h 885825"/>
                      <a:gd name="connsiteX1" fmla="*/ 75407 w 247650"/>
                      <a:gd name="connsiteY1" fmla="*/ 6351 h 885825"/>
                      <a:gd name="connsiteX2" fmla="*/ 177800 w 247650"/>
                      <a:gd name="connsiteY2" fmla="*/ 0 h 885825"/>
                      <a:gd name="connsiteX3" fmla="*/ 247650 w 247650"/>
                      <a:gd name="connsiteY3" fmla="*/ 838200 h 885825"/>
                      <a:gd name="connsiteX4" fmla="*/ 0 w 247650"/>
                      <a:gd name="connsiteY4" fmla="*/ 885825 h 885825"/>
                      <a:gd name="connsiteX5" fmla="*/ 15875 w 247650"/>
                      <a:gd name="connsiteY5" fmla="*/ 63500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650" h="885825">
                        <a:moveTo>
                          <a:pt x="15875" y="63500"/>
                        </a:moveTo>
                        <a:cubicBezTo>
                          <a:pt x="38100" y="54769"/>
                          <a:pt x="53182" y="15082"/>
                          <a:pt x="75407" y="6351"/>
                        </a:cubicBezTo>
                        <a:lnTo>
                          <a:pt x="177800" y="0"/>
                        </a:lnTo>
                        <a:lnTo>
                          <a:pt x="247650" y="838200"/>
                        </a:lnTo>
                        <a:lnTo>
                          <a:pt x="0" y="885825"/>
                        </a:lnTo>
                        <a:lnTo>
                          <a:pt x="15875" y="63500"/>
                        </a:lnTo>
                        <a:close/>
                      </a:path>
                    </a:pathLst>
                  </a:custGeom>
                  <a:solidFill>
                    <a:srgbClr val="603F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10" name="Скругленный прямоугольник 309"/>
                  <p:cNvSpPr/>
                  <p:nvPr/>
                </p:nvSpPr>
                <p:spPr>
                  <a:xfrm>
                    <a:off x="3843226" y="5062215"/>
                    <a:ext cx="76435" cy="178430"/>
                  </a:xfrm>
                  <a:prstGeom prst="roundRect">
                    <a:avLst>
                      <a:gd name="adj" fmla="val 50000"/>
                    </a:avLst>
                  </a:prstGeom>
                  <a:solidFill>
                    <a:srgbClr val="B98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11" name="Правая круглая скобка 310"/>
                  <p:cNvSpPr/>
                  <p:nvPr/>
                </p:nvSpPr>
                <p:spPr>
                  <a:xfrm rot="14250850">
                    <a:off x="3835452" y="4381592"/>
                    <a:ext cx="194830" cy="482296"/>
                  </a:xfrm>
                  <a:prstGeom prst="rightBracket">
                    <a:avLst/>
                  </a:prstGeom>
                  <a:ln>
                    <a:solidFill>
                      <a:srgbClr val="544438"/>
                    </a:solidFill>
                  </a:ln>
                  <a:scene3d>
                    <a:camera prst="isometricOffAxis2Top">
                      <a:rot lat="18600000" lon="2400000" rev="18000000"/>
                    </a:camera>
                    <a:lightRig rig="threePt" dir="t"/>
                  </a:scene3d>
                  <a:sp3d extrusionH="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latin typeface="+mj-lt"/>
                    </a:endParaRPr>
                  </a:p>
                </p:txBody>
              </p:sp>
            </p:grpSp>
            <p:grpSp>
              <p:nvGrpSpPr>
                <p:cNvPr id="293" name="Группа 292"/>
                <p:cNvGrpSpPr/>
                <p:nvPr/>
              </p:nvGrpSpPr>
              <p:grpSpPr>
                <a:xfrm>
                  <a:off x="6790198" y="2987462"/>
                  <a:ext cx="261054" cy="524234"/>
                  <a:chOff x="6790203" y="2987460"/>
                  <a:chExt cx="261050" cy="524231"/>
                </a:xfrm>
              </p:grpSpPr>
              <p:sp>
                <p:nvSpPr>
                  <p:cNvPr id="298" name="Скругленный прямоугольник 297"/>
                  <p:cNvSpPr/>
                  <p:nvPr/>
                </p:nvSpPr>
                <p:spPr>
                  <a:xfrm>
                    <a:off x="6834688" y="2987460"/>
                    <a:ext cx="121413" cy="243815"/>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299" name="Группа 298"/>
                  <p:cNvGrpSpPr/>
                  <p:nvPr/>
                </p:nvGrpSpPr>
                <p:grpSpPr>
                  <a:xfrm>
                    <a:off x="6790203" y="3150819"/>
                    <a:ext cx="261050" cy="360872"/>
                    <a:chOff x="6790226" y="3150822"/>
                    <a:chExt cx="261027" cy="360860"/>
                  </a:xfrm>
                </p:grpSpPr>
                <p:sp>
                  <p:nvSpPr>
                    <p:cNvPr id="300" name="Скругленный прямоугольник 299"/>
                    <p:cNvSpPr/>
                    <p:nvPr/>
                  </p:nvSpPr>
                  <p:spPr>
                    <a:xfrm>
                      <a:off x="6790226" y="3153044"/>
                      <a:ext cx="226609" cy="254510"/>
                    </a:xfrm>
                    <a:prstGeom prst="roundRect">
                      <a:avLst>
                        <a:gd name="adj" fmla="val 34238"/>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01" name="Скругленный прямоугольник 300"/>
                    <p:cNvSpPr/>
                    <p:nvPr/>
                  </p:nvSpPr>
                  <p:spPr>
                    <a:xfrm>
                      <a:off x="6794894" y="3204340"/>
                      <a:ext cx="44509" cy="254510"/>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02" name="Скругленный прямоугольник 301"/>
                    <p:cNvSpPr/>
                    <p:nvPr/>
                  </p:nvSpPr>
                  <p:spPr>
                    <a:xfrm>
                      <a:off x="6850164" y="3220565"/>
                      <a:ext cx="44509" cy="254510"/>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03" name="Скругленный прямоугольник 302"/>
                    <p:cNvSpPr/>
                    <p:nvPr/>
                  </p:nvSpPr>
                  <p:spPr>
                    <a:xfrm>
                      <a:off x="6900974" y="3231262"/>
                      <a:ext cx="44510" cy="254510"/>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04" name="Скругленный прямоугольник 303"/>
                    <p:cNvSpPr/>
                    <p:nvPr/>
                  </p:nvSpPr>
                  <p:spPr>
                    <a:xfrm>
                      <a:off x="6963596" y="3257172"/>
                      <a:ext cx="44509" cy="254510"/>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05" name="Скругленный прямоугольник 304"/>
                    <p:cNvSpPr/>
                    <p:nvPr/>
                  </p:nvSpPr>
                  <p:spPr>
                    <a:xfrm rot="19864124">
                      <a:off x="7005533" y="3150822"/>
                      <a:ext cx="45720" cy="254510"/>
                    </a:xfrm>
                    <a:prstGeom prst="roundRect">
                      <a:avLst>
                        <a:gd name="adj" fmla="val 50000"/>
                      </a:avLst>
                    </a:prstGeom>
                    <a:solidFill>
                      <a:srgbClr val="F9CA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sp>
              <p:nvSpPr>
                <p:cNvPr id="294" name="Полилиния 293"/>
                <p:cNvSpPr/>
                <p:nvPr/>
              </p:nvSpPr>
              <p:spPr>
                <a:xfrm rot="244591">
                  <a:off x="6795073" y="1325271"/>
                  <a:ext cx="348218" cy="1773960"/>
                </a:xfrm>
                <a:custGeom>
                  <a:avLst/>
                  <a:gdLst>
                    <a:gd name="connsiteX0" fmla="*/ 348218 w 348218"/>
                    <a:gd name="connsiteY0" fmla="*/ 0 h 1773960"/>
                    <a:gd name="connsiteX1" fmla="*/ 348218 w 348218"/>
                    <a:gd name="connsiteY1" fmla="*/ 676733 h 1773960"/>
                    <a:gd name="connsiteX2" fmla="*/ 247650 w 348218"/>
                    <a:gd name="connsiteY2" fmla="*/ 1011960 h 1773960"/>
                    <a:gd name="connsiteX3" fmla="*/ 279400 w 348218"/>
                    <a:gd name="connsiteY3" fmla="*/ 1773960 h 1773960"/>
                    <a:gd name="connsiteX4" fmla="*/ 88900 w 348218"/>
                    <a:gd name="connsiteY4" fmla="*/ 1773960 h 1773960"/>
                    <a:gd name="connsiteX5" fmla="*/ 0 w 348218"/>
                    <a:gd name="connsiteY5" fmla="*/ 929410 h 1773960"/>
                    <a:gd name="connsiteX6" fmla="*/ 177800 w 348218"/>
                    <a:gd name="connsiteY6" fmla="*/ 91210 h 1773960"/>
                    <a:gd name="connsiteX0" fmla="*/ 348218 w 348218"/>
                    <a:gd name="connsiteY0" fmla="*/ 0 h 1773960"/>
                    <a:gd name="connsiteX1" fmla="*/ 348218 w 348218"/>
                    <a:gd name="connsiteY1" fmla="*/ 676733 h 1773960"/>
                    <a:gd name="connsiteX2" fmla="*/ 247650 w 348218"/>
                    <a:gd name="connsiteY2" fmla="*/ 1011960 h 1773960"/>
                    <a:gd name="connsiteX3" fmla="*/ 279400 w 348218"/>
                    <a:gd name="connsiteY3" fmla="*/ 1773960 h 1773960"/>
                    <a:gd name="connsiteX4" fmla="*/ 88900 w 348218"/>
                    <a:gd name="connsiteY4" fmla="*/ 1773960 h 1773960"/>
                    <a:gd name="connsiteX5" fmla="*/ 0 w 348218"/>
                    <a:gd name="connsiteY5" fmla="*/ 929410 h 1773960"/>
                    <a:gd name="connsiteX6" fmla="*/ 177800 w 348218"/>
                    <a:gd name="connsiteY6" fmla="*/ 91210 h 1773960"/>
                    <a:gd name="connsiteX7" fmla="*/ 348218 w 348218"/>
                    <a:gd name="connsiteY7" fmla="*/ 0 h 1773960"/>
                    <a:gd name="connsiteX0" fmla="*/ 348218 w 348218"/>
                    <a:gd name="connsiteY0" fmla="*/ 0 h 1773960"/>
                    <a:gd name="connsiteX1" fmla="*/ 272018 w 348218"/>
                    <a:gd name="connsiteY1" fmla="*/ 664033 h 1773960"/>
                    <a:gd name="connsiteX2" fmla="*/ 247650 w 348218"/>
                    <a:gd name="connsiteY2" fmla="*/ 1011960 h 1773960"/>
                    <a:gd name="connsiteX3" fmla="*/ 279400 w 348218"/>
                    <a:gd name="connsiteY3" fmla="*/ 1773960 h 1773960"/>
                    <a:gd name="connsiteX4" fmla="*/ 88900 w 348218"/>
                    <a:gd name="connsiteY4" fmla="*/ 1773960 h 1773960"/>
                    <a:gd name="connsiteX5" fmla="*/ 0 w 348218"/>
                    <a:gd name="connsiteY5" fmla="*/ 929410 h 1773960"/>
                    <a:gd name="connsiteX6" fmla="*/ 177800 w 348218"/>
                    <a:gd name="connsiteY6" fmla="*/ 91210 h 1773960"/>
                    <a:gd name="connsiteX7" fmla="*/ 348218 w 348218"/>
                    <a:gd name="connsiteY7" fmla="*/ 0 h 1773960"/>
                    <a:gd name="connsiteX0" fmla="*/ 348218 w 348218"/>
                    <a:gd name="connsiteY0" fmla="*/ 0 h 1773960"/>
                    <a:gd name="connsiteX1" fmla="*/ 272018 w 348218"/>
                    <a:gd name="connsiteY1" fmla="*/ 664033 h 1773960"/>
                    <a:gd name="connsiteX2" fmla="*/ 196850 w 348218"/>
                    <a:gd name="connsiteY2" fmla="*/ 992910 h 1773960"/>
                    <a:gd name="connsiteX3" fmla="*/ 279400 w 348218"/>
                    <a:gd name="connsiteY3" fmla="*/ 1773960 h 1773960"/>
                    <a:gd name="connsiteX4" fmla="*/ 88900 w 348218"/>
                    <a:gd name="connsiteY4" fmla="*/ 1773960 h 1773960"/>
                    <a:gd name="connsiteX5" fmla="*/ 0 w 348218"/>
                    <a:gd name="connsiteY5" fmla="*/ 929410 h 1773960"/>
                    <a:gd name="connsiteX6" fmla="*/ 177800 w 348218"/>
                    <a:gd name="connsiteY6" fmla="*/ 91210 h 1773960"/>
                    <a:gd name="connsiteX7" fmla="*/ 348218 w 348218"/>
                    <a:gd name="connsiteY7" fmla="*/ 0 h 1773960"/>
                    <a:gd name="connsiteX0" fmla="*/ 348218 w 348218"/>
                    <a:gd name="connsiteY0" fmla="*/ 0 h 1773960"/>
                    <a:gd name="connsiteX1" fmla="*/ 272018 w 348218"/>
                    <a:gd name="connsiteY1" fmla="*/ 664033 h 1773960"/>
                    <a:gd name="connsiteX2" fmla="*/ 196850 w 348218"/>
                    <a:gd name="connsiteY2" fmla="*/ 992910 h 1773960"/>
                    <a:gd name="connsiteX3" fmla="*/ 247650 w 348218"/>
                    <a:gd name="connsiteY3" fmla="*/ 1773960 h 1773960"/>
                    <a:gd name="connsiteX4" fmla="*/ 88900 w 348218"/>
                    <a:gd name="connsiteY4" fmla="*/ 1773960 h 1773960"/>
                    <a:gd name="connsiteX5" fmla="*/ 0 w 348218"/>
                    <a:gd name="connsiteY5" fmla="*/ 929410 h 1773960"/>
                    <a:gd name="connsiteX6" fmla="*/ 177800 w 348218"/>
                    <a:gd name="connsiteY6" fmla="*/ 91210 h 1773960"/>
                    <a:gd name="connsiteX7" fmla="*/ 348218 w 348218"/>
                    <a:gd name="connsiteY7" fmla="*/ 0 h 1773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218" h="1773960">
                      <a:moveTo>
                        <a:pt x="348218" y="0"/>
                      </a:moveTo>
                      <a:lnTo>
                        <a:pt x="272018" y="664033"/>
                      </a:lnTo>
                      <a:lnTo>
                        <a:pt x="196850" y="992910"/>
                      </a:lnTo>
                      <a:lnTo>
                        <a:pt x="247650" y="1773960"/>
                      </a:lnTo>
                      <a:lnTo>
                        <a:pt x="88900" y="1773960"/>
                      </a:lnTo>
                      <a:lnTo>
                        <a:pt x="0" y="929410"/>
                      </a:lnTo>
                      <a:cubicBezTo>
                        <a:pt x="59267" y="650010"/>
                        <a:pt x="35983" y="326160"/>
                        <a:pt x="177800" y="91210"/>
                      </a:cubicBezTo>
                      <a:lnTo>
                        <a:pt x="348218" y="0"/>
                      </a:lnTo>
                      <a:close/>
                    </a:path>
                  </a:pathLst>
                </a:custGeom>
                <a:solidFill>
                  <a:srgbClr val="B5B6B8"/>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95" name="Прямоугольник 294"/>
                <p:cNvSpPr/>
                <p:nvPr/>
              </p:nvSpPr>
              <p:spPr>
                <a:xfrm>
                  <a:off x="6883201" y="2314796"/>
                  <a:ext cx="100044" cy="1324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96" name="Овал 295"/>
                <p:cNvSpPr/>
                <p:nvPr/>
              </p:nvSpPr>
              <p:spPr>
                <a:xfrm>
                  <a:off x="7659536" y="2456187"/>
                  <a:ext cx="69250" cy="62575"/>
                </a:xfrm>
                <a:prstGeom prst="ellipse">
                  <a:avLst/>
                </a:prstGeom>
                <a:solidFill>
                  <a:srgbClr val="3B3B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97" name="Полилиния 296"/>
                <p:cNvSpPr/>
                <p:nvPr/>
              </p:nvSpPr>
              <p:spPr>
                <a:xfrm>
                  <a:off x="7233227" y="1287659"/>
                  <a:ext cx="653256" cy="971547"/>
                </a:xfrm>
                <a:custGeom>
                  <a:avLst/>
                  <a:gdLst>
                    <a:gd name="connsiteX0" fmla="*/ 63643 w 692293"/>
                    <a:gd name="connsiteY0" fmla="*/ 44450 h 971550"/>
                    <a:gd name="connsiteX1" fmla="*/ 63643 w 692293"/>
                    <a:gd name="connsiteY1" fmla="*/ 44450 h 971550"/>
                    <a:gd name="connsiteX2" fmla="*/ 143 w 692293"/>
                    <a:gd name="connsiteY2" fmla="*/ 241300 h 971550"/>
                    <a:gd name="connsiteX3" fmla="*/ 19193 w 692293"/>
                    <a:gd name="connsiteY3" fmla="*/ 228600 h 971550"/>
                    <a:gd name="connsiteX4" fmla="*/ 31893 w 692293"/>
                    <a:gd name="connsiteY4" fmla="*/ 203200 h 971550"/>
                    <a:gd name="connsiteX5" fmla="*/ 165243 w 692293"/>
                    <a:gd name="connsiteY5" fmla="*/ 273050 h 971550"/>
                    <a:gd name="connsiteX6" fmla="*/ 69993 w 692293"/>
                    <a:gd name="connsiteY6" fmla="*/ 355600 h 971550"/>
                    <a:gd name="connsiteX7" fmla="*/ 533543 w 692293"/>
                    <a:gd name="connsiteY7" fmla="*/ 971550 h 971550"/>
                    <a:gd name="connsiteX8" fmla="*/ 666893 w 692293"/>
                    <a:gd name="connsiteY8" fmla="*/ 279400 h 971550"/>
                    <a:gd name="connsiteX9" fmla="*/ 628793 w 692293"/>
                    <a:gd name="connsiteY9" fmla="*/ 222250 h 971550"/>
                    <a:gd name="connsiteX10" fmla="*/ 692293 w 692293"/>
                    <a:gd name="connsiteY10" fmla="*/ 165100 h 971550"/>
                    <a:gd name="connsiteX11" fmla="*/ 590693 w 692293"/>
                    <a:gd name="connsiteY11" fmla="*/ 0 h 971550"/>
                    <a:gd name="connsiteX12" fmla="*/ 520843 w 692293"/>
                    <a:gd name="connsiteY12" fmla="*/ 749300 h 971550"/>
                    <a:gd name="connsiteX13" fmla="*/ 63643 w 692293"/>
                    <a:gd name="connsiteY13" fmla="*/ 44450 h 971550"/>
                    <a:gd name="connsiteX0" fmla="*/ 63643 w 692293"/>
                    <a:gd name="connsiteY0" fmla="*/ 44450 h 971550"/>
                    <a:gd name="connsiteX1" fmla="*/ 63643 w 692293"/>
                    <a:gd name="connsiteY1" fmla="*/ 44450 h 971550"/>
                    <a:gd name="connsiteX2" fmla="*/ 143 w 692293"/>
                    <a:gd name="connsiteY2" fmla="*/ 241300 h 971550"/>
                    <a:gd name="connsiteX3" fmla="*/ 19193 w 692293"/>
                    <a:gd name="connsiteY3" fmla="*/ 228600 h 971550"/>
                    <a:gd name="connsiteX4" fmla="*/ 31893 w 692293"/>
                    <a:gd name="connsiteY4" fmla="*/ 203200 h 971550"/>
                    <a:gd name="connsiteX5" fmla="*/ 165243 w 692293"/>
                    <a:gd name="connsiteY5" fmla="*/ 273050 h 971550"/>
                    <a:gd name="connsiteX6" fmla="*/ 69993 w 692293"/>
                    <a:gd name="connsiteY6" fmla="*/ 355600 h 971550"/>
                    <a:gd name="connsiteX7" fmla="*/ 533543 w 692293"/>
                    <a:gd name="connsiteY7" fmla="*/ 971550 h 971550"/>
                    <a:gd name="connsiteX8" fmla="*/ 666893 w 692293"/>
                    <a:gd name="connsiteY8" fmla="*/ 279400 h 971550"/>
                    <a:gd name="connsiteX9" fmla="*/ 628793 w 692293"/>
                    <a:gd name="connsiteY9" fmla="*/ 222250 h 971550"/>
                    <a:gd name="connsiteX10" fmla="*/ 692293 w 692293"/>
                    <a:gd name="connsiteY10" fmla="*/ 165100 h 971550"/>
                    <a:gd name="connsiteX11" fmla="*/ 590693 w 692293"/>
                    <a:gd name="connsiteY11" fmla="*/ 0 h 971550"/>
                    <a:gd name="connsiteX12" fmla="*/ 504174 w 692293"/>
                    <a:gd name="connsiteY12" fmla="*/ 754063 h 971550"/>
                    <a:gd name="connsiteX13" fmla="*/ 63643 w 692293"/>
                    <a:gd name="connsiteY13" fmla="*/ 44450 h 971550"/>
                    <a:gd name="connsiteX0" fmla="*/ 63643 w 692293"/>
                    <a:gd name="connsiteY0" fmla="*/ 44450 h 971550"/>
                    <a:gd name="connsiteX1" fmla="*/ 63643 w 692293"/>
                    <a:gd name="connsiteY1" fmla="*/ 44450 h 971550"/>
                    <a:gd name="connsiteX2" fmla="*/ 143 w 692293"/>
                    <a:gd name="connsiteY2" fmla="*/ 241300 h 971550"/>
                    <a:gd name="connsiteX3" fmla="*/ 19193 w 692293"/>
                    <a:gd name="connsiteY3" fmla="*/ 228600 h 971550"/>
                    <a:gd name="connsiteX4" fmla="*/ 31893 w 692293"/>
                    <a:gd name="connsiteY4" fmla="*/ 203200 h 971550"/>
                    <a:gd name="connsiteX5" fmla="*/ 165243 w 692293"/>
                    <a:gd name="connsiteY5" fmla="*/ 273050 h 971550"/>
                    <a:gd name="connsiteX6" fmla="*/ 69993 w 692293"/>
                    <a:gd name="connsiteY6" fmla="*/ 355600 h 971550"/>
                    <a:gd name="connsiteX7" fmla="*/ 533543 w 692293"/>
                    <a:gd name="connsiteY7" fmla="*/ 971550 h 971550"/>
                    <a:gd name="connsiteX8" fmla="*/ 666893 w 692293"/>
                    <a:gd name="connsiteY8" fmla="*/ 279400 h 971550"/>
                    <a:gd name="connsiteX9" fmla="*/ 628793 w 692293"/>
                    <a:gd name="connsiteY9" fmla="*/ 222250 h 971550"/>
                    <a:gd name="connsiteX10" fmla="*/ 692293 w 692293"/>
                    <a:gd name="connsiteY10" fmla="*/ 165100 h 971550"/>
                    <a:gd name="connsiteX11" fmla="*/ 590693 w 692293"/>
                    <a:gd name="connsiteY11" fmla="*/ 0 h 971550"/>
                    <a:gd name="connsiteX12" fmla="*/ 497030 w 692293"/>
                    <a:gd name="connsiteY12" fmla="*/ 751682 h 971550"/>
                    <a:gd name="connsiteX13" fmla="*/ 63643 w 692293"/>
                    <a:gd name="connsiteY13" fmla="*/ 44450 h 971550"/>
                    <a:gd name="connsiteX0" fmla="*/ 108887 w 692293"/>
                    <a:gd name="connsiteY0" fmla="*/ 1587 h 971550"/>
                    <a:gd name="connsiteX1" fmla="*/ 63643 w 692293"/>
                    <a:gd name="connsiteY1" fmla="*/ 44450 h 971550"/>
                    <a:gd name="connsiteX2" fmla="*/ 143 w 692293"/>
                    <a:gd name="connsiteY2" fmla="*/ 241300 h 971550"/>
                    <a:gd name="connsiteX3" fmla="*/ 19193 w 692293"/>
                    <a:gd name="connsiteY3" fmla="*/ 228600 h 971550"/>
                    <a:gd name="connsiteX4" fmla="*/ 31893 w 692293"/>
                    <a:gd name="connsiteY4" fmla="*/ 203200 h 971550"/>
                    <a:gd name="connsiteX5" fmla="*/ 165243 w 692293"/>
                    <a:gd name="connsiteY5" fmla="*/ 273050 h 971550"/>
                    <a:gd name="connsiteX6" fmla="*/ 69993 w 692293"/>
                    <a:gd name="connsiteY6" fmla="*/ 355600 h 971550"/>
                    <a:gd name="connsiteX7" fmla="*/ 533543 w 692293"/>
                    <a:gd name="connsiteY7" fmla="*/ 971550 h 971550"/>
                    <a:gd name="connsiteX8" fmla="*/ 666893 w 692293"/>
                    <a:gd name="connsiteY8" fmla="*/ 279400 h 971550"/>
                    <a:gd name="connsiteX9" fmla="*/ 628793 w 692293"/>
                    <a:gd name="connsiteY9" fmla="*/ 222250 h 971550"/>
                    <a:gd name="connsiteX10" fmla="*/ 692293 w 692293"/>
                    <a:gd name="connsiteY10" fmla="*/ 165100 h 971550"/>
                    <a:gd name="connsiteX11" fmla="*/ 590693 w 692293"/>
                    <a:gd name="connsiteY11" fmla="*/ 0 h 971550"/>
                    <a:gd name="connsiteX12" fmla="*/ 497030 w 692293"/>
                    <a:gd name="connsiteY12" fmla="*/ 751682 h 971550"/>
                    <a:gd name="connsiteX13" fmla="*/ 108887 w 692293"/>
                    <a:gd name="connsiteY13" fmla="*/ 1587 h 971550"/>
                    <a:gd name="connsiteX0" fmla="*/ 111107 w 694513"/>
                    <a:gd name="connsiteY0" fmla="*/ 1587 h 971550"/>
                    <a:gd name="connsiteX1" fmla="*/ 80150 w 694513"/>
                    <a:gd name="connsiteY1" fmla="*/ 53975 h 971550"/>
                    <a:gd name="connsiteX2" fmla="*/ 2363 w 694513"/>
                    <a:gd name="connsiteY2" fmla="*/ 241300 h 971550"/>
                    <a:gd name="connsiteX3" fmla="*/ 21413 w 694513"/>
                    <a:gd name="connsiteY3" fmla="*/ 228600 h 971550"/>
                    <a:gd name="connsiteX4" fmla="*/ 34113 w 694513"/>
                    <a:gd name="connsiteY4" fmla="*/ 203200 h 971550"/>
                    <a:gd name="connsiteX5" fmla="*/ 167463 w 694513"/>
                    <a:gd name="connsiteY5" fmla="*/ 273050 h 971550"/>
                    <a:gd name="connsiteX6" fmla="*/ 72213 w 694513"/>
                    <a:gd name="connsiteY6" fmla="*/ 355600 h 971550"/>
                    <a:gd name="connsiteX7" fmla="*/ 535763 w 694513"/>
                    <a:gd name="connsiteY7" fmla="*/ 971550 h 971550"/>
                    <a:gd name="connsiteX8" fmla="*/ 669113 w 694513"/>
                    <a:gd name="connsiteY8" fmla="*/ 279400 h 971550"/>
                    <a:gd name="connsiteX9" fmla="*/ 631013 w 694513"/>
                    <a:gd name="connsiteY9" fmla="*/ 222250 h 971550"/>
                    <a:gd name="connsiteX10" fmla="*/ 694513 w 694513"/>
                    <a:gd name="connsiteY10" fmla="*/ 165100 h 971550"/>
                    <a:gd name="connsiteX11" fmla="*/ 592913 w 694513"/>
                    <a:gd name="connsiteY11" fmla="*/ 0 h 971550"/>
                    <a:gd name="connsiteX12" fmla="*/ 499250 w 694513"/>
                    <a:gd name="connsiteY12" fmla="*/ 751682 h 971550"/>
                    <a:gd name="connsiteX13" fmla="*/ 111107 w 694513"/>
                    <a:gd name="connsiteY13" fmla="*/ 1587 h 971550"/>
                    <a:gd name="connsiteX0" fmla="*/ 89857 w 673263"/>
                    <a:gd name="connsiteY0" fmla="*/ 1587 h 971550"/>
                    <a:gd name="connsiteX1" fmla="*/ 58900 w 673263"/>
                    <a:gd name="connsiteY1" fmla="*/ 53975 h 971550"/>
                    <a:gd name="connsiteX2" fmla="*/ 23975 w 673263"/>
                    <a:gd name="connsiteY2" fmla="*/ 181769 h 971550"/>
                    <a:gd name="connsiteX3" fmla="*/ 163 w 673263"/>
                    <a:gd name="connsiteY3" fmla="*/ 228600 h 971550"/>
                    <a:gd name="connsiteX4" fmla="*/ 12863 w 673263"/>
                    <a:gd name="connsiteY4" fmla="*/ 203200 h 971550"/>
                    <a:gd name="connsiteX5" fmla="*/ 146213 w 673263"/>
                    <a:gd name="connsiteY5" fmla="*/ 273050 h 971550"/>
                    <a:gd name="connsiteX6" fmla="*/ 50963 w 673263"/>
                    <a:gd name="connsiteY6" fmla="*/ 355600 h 971550"/>
                    <a:gd name="connsiteX7" fmla="*/ 514513 w 673263"/>
                    <a:gd name="connsiteY7" fmla="*/ 971550 h 971550"/>
                    <a:gd name="connsiteX8" fmla="*/ 647863 w 673263"/>
                    <a:gd name="connsiteY8" fmla="*/ 279400 h 971550"/>
                    <a:gd name="connsiteX9" fmla="*/ 609763 w 673263"/>
                    <a:gd name="connsiteY9" fmla="*/ 222250 h 971550"/>
                    <a:gd name="connsiteX10" fmla="*/ 673263 w 673263"/>
                    <a:gd name="connsiteY10" fmla="*/ 165100 h 971550"/>
                    <a:gd name="connsiteX11" fmla="*/ 571663 w 673263"/>
                    <a:gd name="connsiteY11" fmla="*/ 0 h 971550"/>
                    <a:gd name="connsiteX12" fmla="*/ 478000 w 673263"/>
                    <a:gd name="connsiteY12" fmla="*/ 751682 h 971550"/>
                    <a:gd name="connsiteX13" fmla="*/ 89857 w 673263"/>
                    <a:gd name="connsiteY13" fmla="*/ 1587 h 971550"/>
                    <a:gd name="connsiteX0" fmla="*/ 76994 w 660400"/>
                    <a:gd name="connsiteY0" fmla="*/ 1587 h 971550"/>
                    <a:gd name="connsiteX1" fmla="*/ 46037 w 660400"/>
                    <a:gd name="connsiteY1" fmla="*/ 53975 h 971550"/>
                    <a:gd name="connsiteX2" fmla="*/ 11112 w 660400"/>
                    <a:gd name="connsiteY2" fmla="*/ 181769 h 971550"/>
                    <a:gd name="connsiteX3" fmla="*/ 15875 w 660400"/>
                    <a:gd name="connsiteY3" fmla="*/ 207169 h 971550"/>
                    <a:gd name="connsiteX4" fmla="*/ 0 w 660400"/>
                    <a:gd name="connsiteY4" fmla="*/ 203200 h 971550"/>
                    <a:gd name="connsiteX5" fmla="*/ 133350 w 660400"/>
                    <a:gd name="connsiteY5" fmla="*/ 273050 h 971550"/>
                    <a:gd name="connsiteX6" fmla="*/ 38100 w 660400"/>
                    <a:gd name="connsiteY6" fmla="*/ 355600 h 971550"/>
                    <a:gd name="connsiteX7" fmla="*/ 501650 w 660400"/>
                    <a:gd name="connsiteY7" fmla="*/ 971550 h 971550"/>
                    <a:gd name="connsiteX8" fmla="*/ 635000 w 660400"/>
                    <a:gd name="connsiteY8" fmla="*/ 279400 h 971550"/>
                    <a:gd name="connsiteX9" fmla="*/ 596900 w 660400"/>
                    <a:gd name="connsiteY9" fmla="*/ 222250 h 971550"/>
                    <a:gd name="connsiteX10" fmla="*/ 660400 w 660400"/>
                    <a:gd name="connsiteY10" fmla="*/ 165100 h 971550"/>
                    <a:gd name="connsiteX11" fmla="*/ 558800 w 660400"/>
                    <a:gd name="connsiteY11" fmla="*/ 0 h 971550"/>
                    <a:gd name="connsiteX12" fmla="*/ 465137 w 660400"/>
                    <a:gd name="connsiteY12" fmla="*/ 751682 h 971550"/>
                    <a:gd name="connsiteX13" fmla="*/ 76994 w 660400"/>
                    <a:gd name="connsiteY13" fmla="*/ 1587 h 971550"/>
                    <a:gd name="connsiteX0" fmla="*/ 69851 w 653257"/>
                    <a:gd name="connsiteY0" fmla="*/ 1587 h 971550"/>
                    <a:gd name="connsiteX1" fmla="*/ 38894 w 653257"/>
                    <a:gd name="connsiteY1" fmla="*/ 53975 h 971550"/>
                    <a:gd name="connsiteX2" fmla="*/ 3969 w 653257"/>
                    <a:gd name="connsiteY2" fmla="*/ 181769 h 971550"/>
                    <a:gd name="connsiteX3" fmla="*/ 8732 w 653257"/>
                    <a:gd name="connsiteY3" fmla="*/ 207169 h 971550"/>
                    <a:gd name="connsiteX4" fmla="*/ 0 w 653257"/>
                    <a:gd name="connsiteY4" fmla="*/ 198437 h 971550"/>
                    <a:gd name="connsiteX5" fmla="*/ 126207 w 653257"/>
                    <a:gd name="connsiteY5" fmla="*/ 273050 h 971550"/>
                    <a:gd name="connsiteX6" fmla="*/ 30957 w 653257"/>
                    <a:gd name="connsiteY6" fmla="*/ 355600 h 971550"/>
                    <a:gd name="connsiteX7" fmla="*/ 494507 w 653257"/>
                    <a:gd name="connsiteY7" fmla="*/ 971550 h 971550"/>
                    <a:gd name="connsiteX8" fmla="*/ 627857 w 653257"/>
                    <a:gd name="connsiteY8" fmla="*/ 279400 h 971550"/>
                    <a:gd name="connsiteX9" fmla="*/ 589757 w 653257"/>
                    <a:gd name="connsiteY9" fmla="*/ 222250 h 971550"/>
                    <a:gd name="connsiteX10" fmla="*/ 653257 w 653257"/>
                    <a:gd name="connsiteY10" fmla="*/ 165100 h 971550"/>
                    <a:gd name="connsiteX11" fmla="*/ 551657 w 653257"/>
                    <a:gd name="connsiteY11" fmla="*/ 0 h 971550"/>
                    <a:gd name="connsiteX12" fmla="*/ 457994 w 653257"/>
                    <a:gd name="connsiteY12" fmla="*/ 751682 h 971550"/>
                    <a:gd name="connsiteX13" fmla="*/ 69851 w 653257"/>
                    <a:gd name="connsiteY13" fmla="*/ 1587 h 97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3257" h="971550">
                      <a:moveTo>
                        <a:pt x="69851" y="1587"/>
                      </a:moveTo>
                      <a:cubicBezTo>
                        <a:pt x="54770" y="15875"/>
                        <a:pt x="49874" y="23945"/>
                        <a:pt x="38894" y="53975"/>
                      </a:cubicBezTo>
                      <a:cubicBezTo>
                        <a:pt x="27914" y="84005"/>
                        <a:pt x="8996" y="156237"/>
                        <a:pt x="3969" y="181769"/>
                      </a:cubicBezTo>
                      <a:cubicBezTo>
                        <a:pt x="-1058" y="207301"/>
                        <a:pt x="9393" y="204391"/>
                        <a:pt x="8732" y="207169"/>
                      </a:cubicBezTo>
                      <a:cubicBezTo>
                        <a:pt x="8071" y="209947"/>
                        <a:pt x="0" y="210495"/>
                        <a:pt x="0" y="198437"/>
                      </a:cubicBezTo>
                      <a:lnTo>
                        <a:pt x="126207" y="273050"/>
                      </a:lnTo>
                      <a:lnTo>
                        <a:pt x="30957" y="355600"/>
                      </a:lnTo>
                      <a:lnTo>
                        <a:pt x="494507" y="971550"/>
                      </a:lnTo>
                      <a:lnTo>
                        <a:pt x="627857" y="279400"/>
                      </a:lnTo>
                      <a:lnTo>
                        <a:pt x="589757" y="222250"/>
                      </a:lnTo>
                      <a:lnTo>
                        <a:pt x="653257" y="165100"/>
                      </a:lnTo>
                      <a:lnTo>
                        <a:pt x="551657" y="0"/>
                      </a:lnTo>
                      <a:lnTo>
                        <a:pt x="457994" y="751682"/>
                      </a:lnTo>
                      <a:lnTo>
                        <a:pt x="69851" y="1587"/>
                      </a:lnTo>
                      <a:close/>
                    </a:path>
                  </a:pathLst>
                </a:custGeom>
                <a:solidFill>
                  <a:srgbClr val="D2D2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grpSp>
          <p:nvGrpSpPr>
            <p:cNvPr id="33" name="Группа 32"/>
            <p:cNvGrpSpPr/>
            <p:nvPr/>
          </p:nvGrpSpPr>
          <p:grpSpPr>
            <a:xfrm>
              <a:off x="3988752" y="4322890"/>
              <a:ext cx="579832" cy="678933"/>
              <a:chOff x="8029759" y="3923618"/>
              <a:chExt cx="815701" cy="789347"/>
            </a:xfrm>
          </p:grpSpPr>
          <p:sp>
            <p:nvSpPr>
              <p:cNvPr id="272" name="Овал 271"/>
              <p:cNvSpPr/>
              <p:nvPr/>
            </p:nvSpPr>
            <p:spPr>
              <a:xfrm>
                <a:off x="8029759" y="4198213"/>
                <a:ext cx="815701" cy="514752"/>
              </a:xfrm>
              <a:prstGeom prst="ellipse">
                <a:avLst/>
              </a:prstGeom>
              <a:solidFill>
                <a:srgbClr val="0A3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73" name="Скругленный прямоугольник 272"/>
              <p:cNvSpPr/>
              <p:nvPr/>
            </p:nvSpPr>
            <p:spPr>
              <a:xfrm>
                <a:off x="8336635" y="3923618"/>
                <a:ext cx="186693" cy="564779"/>
              </a:xfrm>
              <a:prstGeom prst="roundRect">
                <a:avLst/>
              </a:prstGeom>
              <a:solidFill>
                <a:srgbClr val="1B4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34" name="Скругленный прямоугольник 33"/>
            <p:cNvSpPr/>
            <p:nvPr/>
          </p:nvSpPr>
          <p:spPr>
            <a:xfrm rot="177430">
              <a:off x="4101579" y="3508333"/>
              <a:ext cx="1376490" cy="3189030"/>
            </a:xfrm>
            <a:prstGeom prst="roundRect">
              <a:avLst>
                <a:gd name="adj" fmla="val 42357"/>
              </a:avLst>
            </a:prstGeom>
            <a:solidFill>
              <a:schemeClr val="tx1">
                <a:alpha val="30000"/>
              </a:schemeClr>
            </a:solidFill>
            <a:ln>
              <a:noFill/>
            </a:ln>
            <a:scene3d>
              <a:camera prst="isometricOffAxis1Top">
                <a:rot lat="18600000" lon="19200000" rev="3458552"/>
              </a:camera>
              <a:lightRig rig="flat" dir="t"/>
            </a:scene3d>
            <a:sp3d prstMaterial="flat">
              <a:bevelT w="0" h="0"/>
              <a:bevelB w="0" h="0" prst="angle"/>
              <a:extrusionClr>
                <a:schemeClr val="bg1">
                  <a:lumMod val="85000"/>
                </a:schemeClr>
              </a:extrusionClr>
              <a:contourClr>
                <a:schemeClr val="bg1">
                  <a:lumMod val="8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750">
                <a:solidFill>
                  <a:schemeClr val="tx1"/>
                </a:solidFill>
                <a:latin typeface="+mj-lt"/>
              </a:endParaRPr>
            </a:p>
          </p:txBody>
        </p:sp>
        <p:grpSp>
          <p:nvGrpSpPr>
            <p:cNvPr id="35" name="Группа 34"/>
            <p:cNvGrpSpPr/>
            <p:nvPr/>
          </p:nvGrpSpPr>
          <p:grpSpPr>
            <a:xfrm flipH="1">
              <a:off x="5318105" y="4010426"/>
              <a:ext cx="463695" cy="932450"/>
              <a:chOff x="1490851" y="4298825"/>
              <a:chExt cx="1538143" cy="3093046"/>
            </a:xfrm>
          </p:grpSpPr>
          <p:sp>
            <p:nvSpPr>
              <p:cNvPr id="267" name="Полилиния 266"/>
              <p:cNvSpPr/>
              <p:nvPr/>
            </p:nvSpPr>
            <p:spPr>
              <a:xfrm rot="20261571">
                <a:off x="1490851" y="4680189"/>
                <a:ext cx="1284928" cy="2349998"/>
              </a:xfrm>
              <a:custGeom>
                <a:avLst/>
                <a:gdLst>
                  <a:gd name="connsiteX0" fmla="*/ 945899 w 1413421"/>
                  <a:gd name="connsiteY0" fmla="*/ 0 h 2584999"/>
                  <a:gd name="connsiteX1" fmla="*/ 1413421 w 1413421"/>
                  <a:gd name="connsiteY1" fmla="*/ 312577 h 2584999"/>
                  <a:gd name="connsiteX2" fmla="*/ 1350258 w 1413421"/>
                  <a:gd name="connsiteY2" fmla="*/ 466529 h 2584999"/>
                  <a:gd name="connsiteX3" fmla="*/ 1300910 w 1413421"/>
                  <a:gd name="connsiteY3" fmla="*/ 499818 h 2584999"/>
                  <a:gd name="connsiteX4" fmla="*/ 321105 w 1413421"/>
                  <a:gd name="connsiteY4" fmla="*/ 2511608 h 2584999"/>
                  <a:gd name="connsiteX5" fmla="*/ 307868 w 1413421"/>
                  <a:gd name="connsiteY5" fmla="*/ 2547088 h 2584999"/>
                  <a:gd name="connsiteX6" fmla="*/ 296335 w 1413421"/>
                  <a:gd name="connsiteY6" fmla="*/ 2555796 h 2584999"/>
                  <a:gd name="connsiteX7" fmla="*/ 157851 w 1413421"/>
                  <a:gd name="connsiteY7" fmla="*/ 2584999 h 2584999"/>
                  <a:gd name="connsiteX8" fmla="*/ 19367 w 1413421"/>
                  <a:gd name="connsiteY8" fmla="*/ 2555796 h 2584999"/>
                  <a:gd name="connsiteX9" fmla="*/ 0 w 1413421"/>
                  <a:gd name="connsiteY9" fmla="*/ 2541172 h 2584999"/>
                  <a:gd name="connsiteX10" fmla="*/ 39124 w 1413421"/>
                  <a:gd name="connsiteY10" fmla="*/ 2436522 h 2584999"/>
                  <a:gd name="connsiteX11" fmla="*/ 37159 w 1413421"/>
                  <a:gd name="connsiteY11" fmla="*/ 2435776 h 2584999"/>
                  <a:gd name="connsiteX0" fmla="*/ 945899 w 1413421"/>
                  <a:gd name="connsiteY0" fmla="*/ 0 h 2584999"/>
                  <a:gd name="connsiteX1" fmla="*/ 1413421 w 1413421"/>
                  <a:gd name="connsiteY1" fmla="*/ 312577 h 2584999"/>
                  <a:gd name="connsiteX2" fmla="*/ 1350258 w 1413421"/>
                  <a:gd name="connsiteY2" fmla="*/ 466529 h 2584999"/>
                  <a:gd name="connsiteX3" fmla="*/ 1300910 w 1413421"/>
                  <a:gd name="connsiteY3" fmla="*/ 499818 h 2584999"/>
                  <a:gd name="connsiteX4" fmla="*/ 321105 w 1413421"/>
                  <a:gd name="connsiteY4" fmla="*/ 2511608 h 2584999"/>
                  <a:gd name="connsiteX5" fmla="*/ 307868 w 1413421"/>
                  <a:gd name="connsiteY5" fmla="*/ 2547088 h 2584999"/>
                  <a:gd name="connsiteX6" fmla="*/ 296335 w 1413421"/>
                  <a:gd name="connsiteY6" fmla="*/ 2555796 h 2584999"/>
                  <a:gd name="connsiteX7" fmla="*/ 157851 w 1413421"/>
                  <a:gd name="connsiteY7" fmla="*/ 2584999 h 2584999"/>
                  <a:gd name="connsiteX8" fmla="*/ 19367 w 1413421"/>
                  <a:gd name="connsiteY8" fmla="*/ 2555796 h 2584999"/>
                  <a:gd name="connsiteX9" fmla="*/ 0 w 1413421"/>
                  <a:gd name="connsiteY9" fmla="*/ 2541172 h 2584999"/>
                  <a:gd name="connsiteX10" fmla="*/ 39124 w 1413421"/>
                  <a:gd name="connsiteY10" fmla="*/ 2436522 h 2584999"/>
                  <a:gd name="connsiteX11" fmla="*/ 37159 w 1413421"/>
                  <a:gd name="connsiteY11" fmla="*/ 2435776 h 2584999"/>
                  <a:gd name="connsiteX12" fmla="*/ 487453 w 1413421"/>
                  <a:gd name="connsiteY12" fmla="*/ 1352459 h 2584999"/>
                  <a:gd name="connsiteX13" fmla="*/ 945899 w 1413421"/>
                  <a:gd name="connsiteY13" fmla="*/ 0 h 2584999"/>
                  <a:gd name="connsiteX0" fmla="*/ 945899 w 1413421"/>
                  <a:gd name="connsiteY0" fmla="*/ 0 h 2584999"/>
                  <a:gd name="connsiteX1" fmla="*/ 1413421 w 1413421"/>
                  <a:gd name="connsiteY1" fmla="*/ 312577 h 2584999"/>
                  <a:gd name="connsiteX2" fmla="*/ 1350258 w 1413421"/>
                  <a:gd name="connsiteY2" fmla="*/ 466529 h 2584999"/>
                  <a:gd name="connsiteX3" fmla="*/ 1300910 w 1413421"/>
                  <a:gd name="connsiteY3" fmla="*/ 499818 h 2584999"/>
                  <a:gd name="connsiteX4" fmla="*/ 900949 w 1413421"/>
                  <a:gd name="connsiteY4" fmla="*/ 1398561 h 2584999"/>
                  <a:gd name="connsiteX5" fmla="*/ 321105 w 1413421"/>
                  <a:gd name="connsiteY5" fmla="*/ 2511608 h 2584999"/>
                  <a:gd name="connsiteX6" fmla="*/ 307868 w 1413421"/>
                  <a:gd name="connsiteY6" fmla="*/ 2547088 h 2584999"/>
                  <a:gd name="connsiteX7" fmla="*/ 296335 w 1413421"/>
                  <a:gd name="connsiteY7" fmla="*/ 2555796 h 2584999"/>
                  <a:gd name="connsiteX8" fmla="*/ 157851 w 1413421"/>
                  <a:gd name="connsiteY8" fmla="*/ 2584999 h 2584999"/>
                  <a:gd name="connsiteX9" fmla="*/ 19367 w 1413421"/>
                  <a:gd name="connsiteY9" fmla="*/ 2555796 h 2584999"/>
                  <a:gd name="connsiteX10" fmla="*/ 0 w 1413421"/>
                  <a:gd name="connsiteY10" fmla="*/ 2541172 h 2584999"/>
                  <a:gd name="connsiteX11" fmla="*/ 39124 w 1413421"/>
                  <a:gd name="connsiteY11" fmla="*/ 2436522 h 2584999"/>
                  <a:gd name="connsiteX12" fmla="*/ 37159 w 1413421"/>
                  <a:gd name="connsiteY12" fmla="*/ 2435776 h 2584999"/>
                  <a:gd name="connsiteX13" fmla="*/ 487453 w 1413421"/>
                  <a:gd name="connsiteY13" fmla="*/ 1352459 h 2584999"/>
                  <a:gd name="connsiteX14" fmla="*/ 945899 w 1413421"/>
                  <a:gd name="connsiteY14" fmla="*/ 0 h 2584999"/>
                  <a:gd name="connsiteX0" fmla="*/ 945899 w 1413421"/>
                  <a:gd name="connsiteY0" fmla="*/ 0 h 2584999"/>
                  <a:gd name="connsiteX1" fmla="*/ 1413421 w 1413421"/>
                  <a:gd name="connsiteY1" fmla="*/ 312577 h 2584999"/>
                  <a:gd name="connsiteX2" fmla="*/ 1350258 w 1413421"/>
                  <a:gd name="connsiteY2" fmla="*/ 466529 h 2584999"/>
                  <a:gd name="connsiteX3" fmla="*/ 1300910 w 1413421"/>
                  <a:gd name="connsiteY3" fmla="*/ 499818 h 2584999"/>
                  <a:gd name="connsiteX4" fmla="*/ 960248 w 1413421"/>
                  <a:gd name="connsiteY4" fmla="*/ 1449638 h 2584999"/>
                  <a:gd name="connsiteX5" fmla="*/ 321105 w 1413421"/>
                  <a:gd name="connsiteY5" fmla="*/ 2511608 h 2584999"/>
                  <a:gd name="connsiteX6" fmla="*/ 307868 w 1413421"/>
                  <a:gd name="connsiteY6" fmla="*/ 2547088 h 2584999"/>
                  <a:gd name="connsiteX7" fmla="*/ 296335 w 1413421"/>
                  <a:gd name="connsiteY7" fmla="*/ 2555796 h 2584999"/>
                  <a:gd name="connsiteX8" fmla="*/ 157851 w 1413421"/>
                  <a:gd name="connsiteY8" fmla="*/ 2584999 h 2584999"/>
                  <a:gd name="connsiteX9" fmla="*/ 19367 w 1413421"/>
                  <a:gd name="connsiteY9" fmla="*/ 2555796 h 2584999"/>
                  <a:gd name="connsiteX10" fmla="*/ 0 w 1413421"/>
                  <a:gd name="connsiteY10" fmla="*/ 2541172 h 2584999"/>
                  <a:gd name="connsiteX11" fmla="*/ 39124 w 1413421"/>
                  <a:gd name="connsiteY11" fmla="*/ 2436522 h 2584999"/>
                  <a:gd name="connsiteX12" fmla="*/ 37159 w 1413421"/>
                  <a:gd name="connsiteY12" fmla="*/ 2435776 h 2584999"/>
                  <a:gd name="connsiteX13" fmla="*/ 487453 w 1413421"/>
                  <a:gd name="connsiteY13" fmla="*/ 1352459 h 2584999"/>
                  <a:gd name="connsiteX14" fmla="*/ 945899 w 1413421"/>
                  <a:gd name="connsiteY14" fmla="*/ 0 h 258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13421" h="2584999">
                    <a:moveTo>
                      <a:pt x="945899" y="0"/>
                    </a:moveTo>
                    <a:lnTo>
                      <a:pt x="1413421" y="312577"/>
                    </a:lnTo>
                    <a:lnTo>
                      <a:pt x="1350258" y="466529"/>
                    </a:lnTo>
                    <a:lnTo>
                      <a:pt x="1300910" y="499818"/>
                    </a:lnTo>
                    <a:cubicBezTo>
                      <a:pt x="1155137" y="785139"/>
                      <a:pt x="1106021" y="1164317"/>
                      <a:pt x="960248" y="1449638"/>
                    </a:cubicBezTo>
                    <a:lnTo>
                      <a:pt x="321105" y="2511608"/>
                    </a:lnTo>
                    <a:lnTo>
                      <a:pt x="307868" y="2547088"/>
                    </a:lnTo>
                    <a:lnTo>
                      <a:pt x="296335" y="2555796"/>
                    </a:lnTo>
                    <a:cubicBezTo>
                      <a:pt x="260894" y="2573839"/>
                      <a:pt x="211933" y="2584999"/>
                      <a:pt x="157851" y="2584999"/>
                    </a:cubicBezTo>
                    <a:cubicBezTo>
                      <a:pt x="103769" y="2584999"/>
                      <a:pt x="54808" y="2573839"/>
                      <a:pt x="19367" y="2555796"/>
                    </a:cubicBezTo>
                    <a:lnTo>
                      <a:pt x="0" y="2541172"/>
                    </a:lnTo>
                    <a:lnTo>
                      <a:pt x="39124" y="2436522"/>
                    </a:lnTo>
                    <a:lnTo>
                      <a:pt x="37159" y="2435776"/>
                    </a:lnTo>
                    <a:cubicBezTo>
                      <a:pt x="171591" y="2068243"/>
                      <a:pt x="353021" y="1719992"/>
                      <a:pt x="487453" y="1352459"/>
                    </a:cubicBezTo>
                    <a:cubicBezTo>
                      <a:pt x="655934" y="908067"/>
                      <a:pt x="777418" y="444392"/>
                      <a:pt x="945899" y="0"/>
                    </a:cubicBezTo>
                    <a:close/>
                  </a:path>
                </a:pathLst>
              </a:custGeom>
              <a:solidFill>
                <a:srgbClr val="2325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68" name="Полилиния 267"/>
              <p:cNvSpPr/>
              <p:nvPr/>
            </p:nvSpPr>
            <p:spPr>
              <a:xfrm rot="20645689">
                <a:off x="2214636" y="4298825"/>
                <a:ext cx="814358" cy="2531292"/>
              </a:xfrm>
              <a:custGeom>
                <a:avLst/>
                <a:gdLst>
                  <a:gd name="connsiteX0" fmla="*/ 682965 w 895797"/>
                  <a:gd name="connsiteY0" fmla="*/ 0 h 2784423"/>
                  <a:gd name="connsiteX1" fmla="*/ 666571 w 895797"/>
                  <a:gd name="connsiteY1" fmla="*/ 502421 h 2784423"/>
                  <a:gd name="connsiteX2" fmla="*/ 895797 w 895797"/>
                  <a:gd name="connsiteY2" fmla="*/ 504354 h 2784423"/>
                  <a:gd name="connsiteX3" fmla="*/ 238084 w 895797"/>
                  <a:gd name="connsiteY3" fmla="*/ 2628144 h 2784423"/>
                  <a:gd name="connsiteX4" fmla="*/ 242195 w 895797"/>
                  <a:gd name="connsiteY4" fmla="*/ 2630789 h 2784423"/>
                  <a:gd name="connsiteX5" fmla="*/ 192688 w 895797"/>
                  <a:gd name="connsiteY5" fmla="*/ 2774215 h 2784423"/>
                  <a:gd name="connsiteX6" fmla="*/ 178440 w 895797"/>
                  <a:gd name="connsiteY6" fmla="*/ 2775897 h 2784423"/>
                  <a:gd name="connsiteX7" fmla="*/ 177729 w 895797"/>
                  <a:gd name="connsiteY7" fmla="*/ 2777958 h 2784423"/>
                  <a:gd name="connsiteX8" fmla="*/ 122970 w 895797"/>
                  <a:gd name="connsiteY8" fmla="*/ 2784423 h 2784423"/>
                  <a:gd name="connsiteX9" fmla="*/ 16809 w 895797"/>
                  <a:gd name="connsiteY9" fmla="*/ 2758710 h 2784423"/>
                  <a:gd name="connsiteX10" fmla="*/ 0 w 895797"/>
                  <a:gd name="connsiteY10" fmla="*/ 2744131 h 2784423"/>
                  <a:gd name="connsiteX11" fmla="*/ 2704 w 895797"/>
                  <a:gd name="connsiteY11" fmla="*/ 2729401 h 2784423"/>
                  <a:gd name="connsiteX12" fmla="*/ 347 w 895797"/>
                  <a:gd name="connsiteY12" fmla="*/ 2729194 h 2784423"/>
                  <a:gd name="connsiteX13" fmla="*/ 412325 w 895797"/>
                  <a:gd name="connsiteY13" fmla="*/ 643903 h 2784423"/>
                  <a:gd name="connsiteX14" fmla="*/ 379200 w 895797"/>
                  <a:gd name="connsiteY14" fmla="*/ 672099 h 2784423"/>
                  <a:gd name="connsiteX15" fmla="*/ 430136 w 895797"/>
                  <a:gd name="connsiteY15" fmla="*/ 493349 h 2784423"/>
                  <a:gd name="connsiteX16" fmla="*/ 452002 w 895797"/>
                  <a:gd name="connsiteY16" fmla="*/ 504665 h 2784423"/>
                  <a:gd name="connsiteX0" fmla="*/ 682965 w 895797"/>
                  <a:gd name="connsiteY0" fmla="*/ 0 h 2784423"/>
                  <a:gd name="connsiteX1" fmla="*/ 666571 w 895797"/>
                  <a:gd name="connsiteY1" fmla="*/ 502421 h 2784423"/>
                  <a:gd name="connsiteX2" fmla="*/ 895797 w 895797"/>
                  <a:gd name="connsiteY2" fmla="*/ 504354 h 2784423"/>
                  <a:gd name="connsiteX3" fmla="*/ 238084 w 895797"/>
                  <a:gd name="connsiteY3" fmla="*/ 2628144 h 2784423"/>
                  <a:gd name="connsiteX4" fmla="*/ 242195 w 895797"/>
                  <a:gd name="connsiteY4" fmla="*/ 2630789 h 2784423"/>
                  <a:gd name="connsiteX5" fmla="*/ 192688 w 895797"/>
                  <a:gd name="connsiteY5" fmla="*/ 2774215 h 2784423"/>
                  <a:gd name="connsiteX6" fmla="*/ 178440 w 895797"/>
                  <a:gd name="connsiteY6" fmla="*/ 2775897 h 2784423"/>
                  <a:gd name="connsiteX7" fmla="*/ 177729 w 895797"/>
                  <a:gd name="connsiteY7" fmla="*/ 2777958 h 2784423"/>
                  <a:gd name="connsiteX8" fmla="*/ 122970 w 895797"/>
                  <a:gd name="connsiteY8" fmla="*/ 2784423 h 2784423"/>
                  <a:gd name="connsiteX9" fmla="*/ 16809 w 895797"/>
                  <a:gd name="connsiteY9" fmla="*/ 2758710 h 2784423"/>
                  <a:gd name="connsiteX10" fmla="*/ 0 w 895797"/>
                  <a:gd name="connsiteY10" fmla="*/ 2744131 h 2784423"/>
                  <a:gd name="connsiteX11" fmla="*/ 2704 w 895797"/>
                  <a:gd name="connsiteY11" fmla="*/ 2729401 h 2784423"/>
                  <a:gd name="connsiteX12" fmla="*/ 347 w 895797"/>
                  <a:gd name="connsiteY12" fmla="*/ 2729194 h 2784423"/>
                  <a:gd name="connsiteX13" fmla="*/ 340356 w 895797"/>
                  <a:gd name="connsiteY13" fmla="*/ 1376112 h 2784423"/>
                  <a:gd name="connsiteX14" fmla="*/ 412325 w 895797"/>
                  <a:gd name="connsiteY14" fmla="*/ 643903 h 2784423"/>
                  <a:gd name="connsiteX15" fmla="*/ 379200 w 895797"/>
                  <a:gd name="connsiteY15" fmla="*/ 672099 h 2784423"/>
                  <a:gd name="connsiteX16" fmla="*/ 430136 w 895797"/>
                  <a:gd name="connsiteY16" fmla="*/ 493349 h 2784423"/>
                  <a:gd name="connsiteX17" fmla="*/ 452002 w 895797"/>
                  <a:gd name="connsiteY17" fmla="*/ 504665 h 2784423"/>
                  <a:gd name="connsiteX18" fmla="*/ 682965 w 895797"/>
                  <a:gd name="connsiteY18" fmla="*/ 0 h 2784423"/>
                  <a:gd name="connsiteX0" fmla="*/ 682965 w 895797"/>
                  <a:gd name="connsiteY0" fmla="*/ 0 h 2784423"/>
                  <a:gd name="connsiteX1" fmla="*/ 666571 w 895797"/>
                  <a:gd name="connsiteY1" fmla="*/ 502421 h 2784423"/>
                  <a:gd name="connsiteX2" fmla="*/ 895797 w 895797"/>
                  <a:gd name="connsiteY2" fmla="*/ 504354 h 2784423"/>
                  <a:gd name="connsiteX3" fmla="*/ 238084 w 895797"/>
                  <a:gd name="connsiteY3" fmla="*/ 2628144 h 2784423"/>
                  <a:gd name="connsiteX4" fmla="*/ 242195 w 895797"/>
                  <a:gd name="connsiteY4" fmla="*/ 2630789 h 2784423"/>
                  <a:gd name="connsiteX5" fmla="*/ 192688 w 895797"/>
                  <a:gd name="connsiteY5" fmla="*/ 2774215 h 2784423"/>
                  <a:gd name="connsiteX6" fmla="*/ 178440 w 895797"/>
                  <a:gd name="connsiteY6" fmla="*/ 2775897 h 2784423"/>
                  <a:gd name="connsiteX7" fmla="*/ 177729 w 895797"/>
                  <a:gd name="connsiteY7" fmla="*/ 2777958 h 2784423"/>
                  <a:gd name="connsiteX8" fmla="*/ 122970 w 895797"/>
                  <a:gd name="connsiteY8" fmla="*/ 2784423 h 2784423"/>
                  <a:gd name="connsiteX9" fmla="*/ 16809 w 895797"/>
                  <a:gd name="connsiteY9" fmla="*/ 2758710 h 2784423"/>
                  <a:gd name="connsiteX10" fmla="*/ 0 w 895797"/>
                  <a:gd name="connsiteY10" fmla="*/ 2744131 h 2784423"/>
                  <a:gd name="connsiteX11" fmla="*/ 2704 w 895797"/>
                  <a:gd name="connsiteY11" fmla="*/ 2729401 h 2784423"/>
                  <a:gd name="connsiteX12" fmla="*/ 347 w 895797"/>
                  <a:gd name="connsiteY12" fmla="*/ 2729194 h 2784423"/>
                  <a:gd name="connsiteX13" fmla="*/ 306341 w 895797"/>
                  <a:gd name="connsiteY13" fmla="*/ 1379625 h 2784423"/>
                  <a:gd name="connsiteX14" fmla="*/ 412325 w 895797"/>
                  <a:gd name="connsiteY14" fmla="*/ 643903 h 2784423"/>
                  <a:gd name="connsiteX15" fmla="*/ 379200 w 895797"/>
                  <a:gd name="connsiteY15" fmla="*/ 672099 h 2784423"/>
                  <a:gd name="connsiteX16" fmla="*/ 430136 w 895797"/>
                  <a:gd name="connsiteY16" fmla="*/ 493349 h 2784423"/>
                  <a:gd name="connsiteX17" fmla="*/ 452002 w 895797"/>
                  <a:gd name="connsiteY17" fmla="*/ 504665 h 2784423"/>
                  <a:gd name="connsiteX18" fmla="*/ 682965 w 895797"/>
                  <a:gd name="connsiteY18" fmla="*/ 0 h 2784423"/>
                  <a:gd name="connsiteX0" fmla="*/ 682965 w 895797"/>
                  <a:gd name="connsiteY0" fmla="*/ 0 h 2784423"/>
                  <a:gd name="connsiteX1" fmla="*/ 666571 w 895797"/>
                  <a:gd name="connsiteY1" fmla="*/ 502421 h 2784423"/>
                  <a:gd name="connsiteX2" fmla="*/ 895797 w 895797"/>
                  <a:gd name="connsiteY2" fmla="*/ 504354 h 2784423"/>
                  <a:gd name="connsiteX3" fmla="*/ 661771 w 895797"/>
                  <a:gd name="connsiteY3" fmla="*/ 1639522 h 2784423"/>
                  <a:gd name="connsiteX4" fmla="*/ 238084 w 895797"/>
                  <a:gd name="connsiteY4" fmla="*/ 2628144 h 2784423"/>
                  <a:gd name="connsiteX5" fmla="*/ 242195 w 895797"/>
                  <a:gd name="connsiteY5" fmla="*/ 2630789 h 2784423"/>
                  <a:gd name="connsiteX6" fmla="*/ 192688 w 895797"/>
                  <a:gd name="connsiteY6" fmla="*/ 2774215 h 2784423"/>
                  <a:gd name="connsiteX7" fmla="*/ 178440 w 895797"/>
                  <a:gd name="connsiteY7" fmla="*/ 2775897 h 2784423"/>
                  <a:gd name="connsiteX8" fmla="*/ 177729 w 895797"/>
                  <a:gd name="connsiteY8" fmla="*/ 2777958 h 2784423"/>
                  <a:gd name="connsiteX9" fmla="*/ 122970 w 895797"/>
                  <a:gd name="connsiteY9" fmla="*/ 2784423 h 2784423"/>
                  <a:gd name="connsiteX10" fmla="*/ 16809 w 895797"/>
                  <a:gd name="connsiteY10" fmla="*/ 2758710 h 2784423"/>
                  <a:gd name="connsiteX11" fmla="*/ 0 w 895797"/>
                  <a:gd name="connsiteY11" fmla="*/ 2744131 h 2784423"/>
                  <a:gd name="connsiteX12" fmla="*/ 2704 w 895797"/>
                  <a:gd name="connsiteY12" fmla="*/ 2729401 h 2784423"/>
                  <a:gd name="connsiteX13" fmla="*/ 347 w 895797"/>
                  <a:gd name="connsiteY13" fmla="*/ 2729194 h 2784423"/>
                  <a:gd name="connsiteX14" fmla="*/ 306341 w 895797"/>
                  <a:gd name="connsiteY14" fmla="*/ 1379625 h 2784423"/>
                  <a:gd name="connsiteX15" fmla="*/ 412325 w 895797"/>
                  <a:gd name="connsiteY15" fmla="*/ 643903 h 2784423"/>
                  <a:gd name="connsiteX16" fmla="*/ 379200 w 895797"/>
                  <a:gd name="connsiteY16" fmla="*/ 672099 h 2784423"/>
                  <a:gd name="connsiteX17" fmla="*/ 430136 w 895797"/>
                  <a:gd name="connsiteY17" fmla="*/ 493349 h 2784423"/>
                  <a:gd name="connsiteX18" fmla="*/ 452002 w 895797"/>
                  <a:gd name="connsiteY18" fmla="*/ 504665 h 2784423"/>
                  <a:gd name="connsiteX19" fmla="*/ 682965 w 895797"/>
                  <a:gd name="connsiteY19" fmla="*/ 0 h 278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5797" h="2784423">
                    <a:moveTo>
                      <a:pt x="682965" y="0"/>
                    </a:moveTo>
                    <a:lnTo>
                      <a:pt x="666571" y="502421"/>
                    </a:lnTo>
                    <a:lnTo>
                      <a:pt x="895797" y="504354"/>
                    </a:lnTo>
                    <a:cubicBezTo>
                      <a:pt x="784635" y="871151"/>
                      <a:pt x="772933" y="1272725"/>
                      <a:pt x="661771" y="1639522"/>
                    </a:cubicBezTo>
                    <a:lnTo>
                      <a:pt x="238084" y="2628144"/>
                    </a:lnTo>
                    <a:lnTo>
                      <a:pt x="242195" y="2630789"/>
                    </a:lnTo>
                    <a:lnTo>
                      <a:pt x="192688" y="2774215"/>
                    </a:lnTo>
                    <a:lnTo>
                      <a:pt x="178440" y="2775897"/>
                    </a:lnTo>
                    <a:lnTo>
                      <a:pt x="177729" y="2777958"/>
                    </a:lnTo>
                    <a:lnTo>
                      <a:pt x="122970" y="2784423"/>
                    </a:lnTo>
                    <a:cubicBezTo>
                      <a:pt x="81512" y="2784423"/>
                      <a:pt x="43978" y="2774597"/>
                      <a:pt x="16809" y="2758710"/>
                    </a:cubicBezTo>
                    <a:lnTo>
                      <a:pt x="0" y="2744131"/>
                    </a:lnTo>
                    <a:lnTo>
                      <a:pt x="2704" y="2729401"/>
                    </a:lnTo>
                    <a:lnTo>
                      <a:pt x="347" y="2729194"/>
                    </a:lnTo>
                    <a:cubicBezTo>
                      <a:pt x="90131" y="2275857"/>
                      <a:pt x="216557" y="1832962"/>
                      <a:pt x="306341" y="1379625"/>
                    </a:cubicBezTo>
                    <a:lnTo>
                      <a:pt x="412325" y="643903"/>
                    </a:lnTo>
                    <a:lnTo>
                      <a:pt x="379200" y="672099"/>
                    </a:lnTo>
                    <a:lnTo>
                      <a:pt x="430136" y="493349"/>
                    </a:lnTo>
                    <a:lnTo>
                      <a:pt x="452002" y="504665"/>
                    </a:lnTo>
                    <a:lnTo>
                      <a:pt x="682965" y="0"/>
                    </a:lnTo>
                    <a:close/>
                  </a:path>
                </a:pathLst>
              </a:custGeom>
              <a:solidFill>
                <a:schemeClr val="tx1"/>
              </a:solidFill>
              <a:ln>
                <a:noFill/>
              </a:ln>
              <a:effectLst>
                <a:innerShdw blurRad="63500" dist="50800" dir="10800000">
                  <a:prstClr val="black">
                    <a:alpha val="50000"/>
                  </a:prstClr>
                </a:innerShdw>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69" name="Полилиния 268"/>
              <p:cNvSpPr/>
              <p:nvPr/>
            </p:nvSpPr>
            <p:spPr>
              <a:xfrm rot="2076468">
                <a:off x="2521269" y="6842102"/>
                <a:ext cx="486092" cy="221260"/>
              </a:xfrm>
              <a:custGeom>
                <a:avLst/>
                <a:gdLst>
                  <a:gd name="connsiteX0" fmla="*/ 213550 w 711684"/>
                  <a:gd name="connsiteY0" fmla="*/ 0 h 323945"/>
                  <a:gd name="connsiteX1" fmla="*/ 498472 w 711684"/>
                  <a:gd name="connsiteY1" fmla="*/ 80051 h 323945"/>
                  <a:gd name="connsiteX2" fmla="*/ 511659 w 711684"/>
                  <a:gd name="connsiteY2" fmla="*/ 78626 h 323945"/>
                  <a:gd name="connsiteX3" fmla="*/ 711684 w 711684"/>
                  <a:gd name="connsiteY3" fmla="*/ 185697 h 323945"/>
                  <a:gd name="connsiteX4" fmla="*/ 511659 w 711684"/>
                  <a:gd name="connsiteY4" fmla="*/ 292768 h 323945"/>
                  <a:gd name="connsiteX5" fmla="*/ 433800 w 711684"/>
                  <a:gd name="connsiteY5" fmla="*/ 284354 h 323945"/>
                  <a:gd name="connsiteX6" fmla="*/ 422396 w 711684"/>
                  <a:gd name="connsiteY6" fmla="*/ 280239 h 323945"/>
                  <a:gd name="connsiteX7" fmla="*/ 362517 w 711684"/>
                  <a:gd name="connsiteY7" fmla="*/ 282960 h 323945"/>
                  <a:gd name="connsiteX8" fmla="*/ 113055 w 711684"/>
                  <a:gd name="connsiteY8" fmla="*/ 323945 h 323945"/>
                  <a:gd name="connsiteX9" fmla="*/ 0 w 711684"/>
                  <a:gd name="connsiteY9" fmla="*/ 1936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684" h="323945">
                    <a:moveTo>
                      <a:pt x="213550" y="0"/>
                    </a:moveTo>
                    <a:lnTo>
                      <a:pt x="498472" y="80051"/>
                    </a:lnTo>
                    <a:lnTo>
                      <a:pt x="511659" y="78626"/>
                    </a:lnTo>
                    <a:cubicBezTo>
                      <a:pt x="622130" y="78626"/>
                      <a:pt x="711684" y="126563"/>
                      <a:pt x="711684" y="185697"/>
                    </a:cubicBezTo>
                    <a:cubicBezTo>
                      <a:pt x="711684" y="244831"/>
                      <a:pt x="622130" y="292768"/>
                      <a:pt x="511659" y="292768"/>
                    </a:cubicBezTo>
                    <a:cubicBezTo>
                      <a:pt x="484041" y="292768"/>
                      <a:pt x="457731" y="289772"/>
                      <a:pt x="433800" y="284354"/>
                    </a:cubicBezTo>
                    <a:lnTo>
                      <a:pt x="422396" y="280239"/>
                    </a:lnTo>
                    <a:lnTo>
                      <a:pt x="362517" y="282960"/>
                    </a:lnTo>
                    <a:lnTo>
                      <a:pt x="113055" y="323945"/>
                    </a:lnTo>
                    <a:lnTo>
                      <a:pt x="0" y="193651"/>
                    </a:lnTo>
                    <a:close/>
                  </a:path>
                </a:pathLst>
              </a:custGeom>
              <a:solidFill>
                <a:srgbClr val="47311A"/>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70" name="Скругленный прямоугольник 269"/>
              <p:cNvSpPr/>
              <p:nvPr/>
            </p:nvSpPr>
            <p:spPr>
              <a:xfrm>
                <a:off x="2353004" y="4883019"/>
                <a:ext cx="56281" cy="261937"/>
              </a:xfrm>
              <a:prstGeom prst="roundRect">
                <a:avLst>
                  <a:gd name="adj" fmla="val 50000"/>
                </a:avLst>
              </a:prstGeom>
              <a:solidFill>
                <a:srgbClr val="7BCD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71" name="Полилиния 270"/>
              <p:cNvSpPr/>
              <p:nvPr/>
            </p:nvSpPr>
            <p:spPr>
              <a:xfrm rot="2076468">
                <a:off x="1922941" y="7097373"/>
                <a:ext cx="646988" cy="294498"/>
              </a:xfrm>
              <a:custGeom>
                <a:avLst/>
                <a:gdLst>
                  <a:gd name="connsiteX0" fmla="*/ 213550 w 711684"/>
                  <a:gd name="connsiteY0" fmla="*/ 0 h 323945"/>
                  <a:gd name="connsiteX1" fmla="*/ 498472 w 711684"/>
                  <a:gd name="connsiteY1" fmla="*/ 80051 h 323945"/>
                  <a:gd name="connsiteX2" fmla="*/ 511659 w 711684"/>
                  <a:gd name="connsiteY2" fmla="*/ 78626 h 323945"/>
                  <a:gd name="connsiteX3" fmla="*/ 711684 w 711684"/>
                  <a:gd name="connsiteY3" fmla="*/ 185697 h 323945"/>
                  <a:gd name="connsiteX4" fmla="*/ 511659 w 711684"/>
                  <a:gd name="connsiteY4" fmla="*/ 292768 h 323945"/>
                  <a:gd name="connsiteX5" fmla="*/ 433800 w 711684"/>
                  <a:gd name="connsiteY5" fmla="*/ 284354 h 323945"/>
                  <a:gd name="connsiteX6" fmla="*/ 422396 w 711684"/>
                  <a:gd name="connsiteY6" fmla="*/ 280239 h 323945"/>
                  <a:gd name="connsiteX7" fmla="*/ 362517 w 711684"/>
                  <a:gd name="connsiteY7" fmla="*/ 282960 h 323945"/>
                  <a:gd name="connsiteX8" fmla="*/ 113055 w 711684"/>
                  <a:gd name="connsiteY8" fmla="*/ 323945 h 323945"/>
                  <a:gd name="connsiteX9" fmla="*/ 0 w 711684"/>
                  <a:gd name="connsiteY9" fmla="*/ 1936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1684" h="323945">
                    <a:moveTo>
                      <a:pt x="213550" y="0"/>
                    </a:moveTo>
                    <a:lnTo>
                      <a:pt x="498472" y="80051"/>
                    </a:lnTo>
                    <a:lnTo>
                      <a:pt x="511659" y="78626"/>
                    </a:lnTo>
                    <a:cubicBezTo>
                      <a:pt x="622130" y="78626"/>
                      <a:pt x="711684" y="126563"/>
                      <a:pt x="711684" y="185697"/>
                    </a:cubicBezTo>
                    <a:cubicBezTo>
                      <a:pt x="711684" y="244831"/>
                      <a:pt x="622130" y="292768"/>
                      <a:pt x="511659" y="292768"/>
                    </a:cubicBezTo>
                    <a:cubicBezTo>
                      <a:pt x="484041" y="292768"/>
                      <a:pt x="457731" y="289772"/>
                      <a:pt x="433800" y="284354"/>
                    </a:cubicBezTo>
                    <a:lnTo>
                      <a:pt x="422396" y="280239"/>
                    </a:lnTo>
                    <a:lnTo>
                      <a:pt x="362517" y="282960"/>
                    </a:lnTo>
                    <a:lnTo>
                      <a:pt x="113055" y="323945"/>
                    </a:lnTo>
                    <a:lnTo>
                      <a:pt x="0" y="193651"/>
                    </a:lnTo>
                    <a:close/>
                  </a:path>
                </a:pathLst>
              </a:custGeom>
              <a:solidFill>
                <a:srgbClr val="47311A"/>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36" name="Скругленный прямоугольник 35"/>
            <p:cNvSpPr/>
            <p:nvPr/>
          </p:nvSpPr>
          <p:spPr>
            <a:xfrm rot="3041575" flipH="1">
              <a:off x="5321209" y="3825078"/>
              <a:ext cx="74284" cy="243463"/>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7" name="Скругленный прямоугольник 36"/>
            <p:cNvSpPr/>
            <p:nvPr/>
          </p:nvSpPr>
          <p:spPr>
            <a:xfrm rot="321182" flipH="1">
              <a:off x="5400895" y="3539182"/>
              <a:ext cx="58782" cy="389043"/>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38" name="Группа 37"/>
            <p:cNvGrpSpPr/>
            <p:nvPr/>
          </p:nvGrpSpPr>
          <p:grpSpPr>
            <a:xfrm flipH="1">
              <a:off x="5459644" y="3271374"/>
              <a:ext cx="183196" cy="340416"/>
              <a:chOff x="4351410" y="2468512"/>
              <a:chExt cx="257718" cy="478889"/>
            </a:xfrm>
          </p:grpSpPr>
          <p:sp>
            <p:nvSpPr>
              <p:cNvPr id="264" name="Скругленный прямоугольник 263"/>
              <p:cNvSpPr/>
              <p:nvPr/>
            </p:nvSpPr>
            <p:spPr>
              <a:xfrm rot="21399338">
                <a:off x="4407600" y="2746423"/>
                <a:ext cx="150252" cy="200978"/>
              </a:xfrm>
              <a:prstGeom prst="roundRect">
                <a:avLst/>
              </a:prstGeom>
              <a:solidFill>
                <a:srgbClr val="F8B3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65" name="Скругленный прямоугольник 321"/>
              <p:cNvSpPr/>
              <p:nvPr/>
            </p:nvSpPr>
            <p:spPr>
              <a:xfrm rot="21292432" flipH="1">
                <a:off x="4392602" y="2584619"/>
                <a:ext cx="214000" cy="253243"/>
              </a:xfrm>
              <a:custGeom>
                <a:avLst/>
                <a:gdLst>
                  <a:gd name="connsiteX0" fmla="*/ 0 w 209550"/>
                  <a:gd name="connsiteY0" fmla="*/ 34926 h 319401"/>
                  <a:gd name="connsiteX1" fmla="*/ 34926 w 209550"/>
                  <a:gd name="connsiteY1" fmla="*/ 0 h 319401"/>
                  <a:gd name="connsiteX2" fmla="*/ 174624 w 209550"/>
                  <a:gd name="connsiteY2" fmla="*/ 0 h 319401"/>
                  <a:gd name="connsiteX3" fmla="*/ 209550 w 209550"/>
                  <a:gd name="connsiteY3" fmla="*/ 34926 h 319401"/>
                  <a:gd name="connsiteX4" fmla="*/ 209550 w 209550"/>
                  <a:gd name="connsiteY4" fmla="*/ 284475 h 319401"/>
                  <a:gd name="connsiteX5" fmla="*/ 174624 w 209550"/>
                  <a:gd name="connsiteY5" fmla="*/ 319401 h 319401"/>
                  <a:gd name="connsiteX6" fmla="*/ 34926 w 209550"/>
                  <a:gd name="connsiteY6" fmla="*/ 319401 h 319401"/>
                  <a:gd name="connsiteX7" fmla="*/ 0 w 209550"/>
                  <a:gd name="connsiteY7" fmla="*/ 284475 h 319401"/>
                  <a:gd name="connsiteX8" fmla="*/ 0 w 209550"/>
                  <a:gd name="connsiteY8" fmla="*/ 34926 h 319401"/>
                  <a:gd name="connsiteX0" fmla="*/ 0 w 209550"/>
                  <a:gd name="connsiteY0" fmla="*/ 34926 h 335713"/>
                  <a:gd name="connsiteX1" fmla="*/ 34926 w 209550"/>
                  <a:gd name="connsiteY1" fmla="*/ 0 h 335713"/>
                  <a:gd name="connsiteX2" fmla="*/ 174624 w 209550"/>
                  <a:gd name="connsiteY2" fmla="*/ 0 h 335713"/>
                  <a:gd name="connsiteX3" fmla="*/ 209550 w 209550"/>
                  <a:gd name="connsiteY3" fmla="*/ 34926 h 335713"/>
                  <a:gd name="connsiteX4" fmla="*/ 209550 w 209550"/>
                  <a:gd name="connsiteY4" fmla="*/ 284475 h 335713"/>
                  <a:gd name="connsiteX5" fmla="*/ 174624 w 209550"/>
                  <a:gd name="connsiteY5" fmla="*/ 319401 h 335713"/>
                  <a:gd name="connsiteX6" fmla="*/ 84709 w 209550"/>
                  <a:gd name="connsiteY6" fmla="*/ 335713 h 335713"/>
                  <a:gd name="connsiteX7" fmla="*/ 0 w 209550"/>
                  <a:gd name="connsiteY7" fmla="*/ 284475 h 335713"/>
                  <a:gd name="connsiteX8" fmla="*/ 0 w 209550"/>
                  <a:gd name="connsiteY8" fmla="*/ 34926 h 335713"/>
                  <a:gd name="connsiteX0" fmla="*/ 0 w 209550"/>
                  <a:gd name="connsiteY0" fmla="*/ 34926 h 335713"/>
                  <a:gd name="connsiteX1" fmla="*/ 34926 w 209550"/>
                  <a:gd name="connsiteY1" fmla="*/ 0 h 335713"/>
                  <a:gd name="connsiteX2" fmla="*/ 174624 w 209550"/>
                  <a:gd name="connsiteY2" fmla="*/ 0 h 335713"/>
                  <a:gd name="connsiteX3" fmla="*/ 209550 w 209550"/>
                  <a:gd name="connsiteY3" fmla="*/ 34926 h 335713"/>
                  <a:gd name="connsiteX4" fmla="*/ 209550 w 209550"/>
                  <a:gd name="connsiteY4" fmla="*/ 284475 h 335713"/>
                  <a:gd name="connsiteX5" fmla="*/ 174624 w 209550"/>
                  <a:gd name="connsiteY5" fmla="*/ 319401 h 335713"/>
                  <a:gd name="connsiteX6" fmla="*/ 84709 w 209550"/>
                  <a:gd name="connsiteY6" fmla="*/ 335713 h 335713"/>
                  <a:gd name="connsiteX7" fmla="*/ 36091 w 209550"/>
                  <a:gd name="connsiteY7" fmla="*/ 273748 h 335713"/>
                  <a:gd name="connsiteX8" fmla="*/ 0 w 209550"/>
                  <a:gd name="connsiteY8" fmla="*/ 34926 h 335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550" h="335713">
                    <a:moveTo>
                      <a:pt x="0" y="34926"/>
                    </a:moveTo>
                    <a:cubicBezTo>
                      <a:pt x="0" y="15637"/>
                      <a:pt x="15637" y="0"/>
                      <a:pt x="34926" y="0"/>
                    </a:cubicBezTo>
                    <a:lnTo>
                      <a:pt x="174624" y="0"/>
                    </a:lnTo>
                    <a:cubicBezTo>
                      <a:pt x="193913" y="0"/>
                      <a:pt x="209550" y="15637"/>
                      <a:pt x="209550" y="34926"/>
                    </a:cubicBezTo>
                    <a:lnTo>
                      <a:pt x="209550" y="284475"/>
                    </a:lnTo>
                    <a:cubicBezTo>
                      <a:pt x="209550" y="303764"/>
                      <a:pt x="193913" y="319401"/>
                      <a:pt x="174624" y="319401"/>
                    </a:cubicBezTo>
                    <a:cubicBezTo>
                      <a:pt x="128058" y="319401"/>
                      <a:pt x="131275" y="335713"/>
                      <a:pt x="84709" y="335713"/>
                    </a:cubicBezTo>
                    <a:cubicBezTo>
                      <a:pt x="65420" y="335713"/>
                      <a:pt x="36091" y="293037"/>
                      <a:pt x="36091" y="273748"/>
                    </a:cubicBezTo>
                    <a:lnTo>
                      <a:pt x="0" y="34926"/>
                    </a:lnTo>
                    <a:close/>
                  </a:path>
                </a:pathLst>
              </a:custGeom>
              <a:solidFill>
                <a:srgbClr val="FBD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66" name="Полилиния 265"/>
              <p:cNvSpPr/>
              <p:nvPr/>
            </p:nvSpPr>
            <p:spPr>
              <a:xfrm>
                <a:off x="4351410" y="2468512"/>
                <a:ext cx="257718" cy="314513"/>
              </a:xfrm>
              <a:custGeom>
                <a:avLst/>
                <a:gdLst>
                  <a:gd name="connsiteX0" fmla="*/ 181247 w 362494"/>
                  <a:gd name="connsiteY0" fmla="*/ 0 h 361877"/>
                  <a:gd name="connsiteX1" fmla="*/ 362494 w 362494"/>
                  <a:gd name="connsiteY1" fmla="*/ 181247 h 361877"/>
                  <a:gd name="connsiteX2" fmla="*/ 362494 w 362494"/>
                  <a:gd name="connsiteY2" fmla="*/ 214191 h 361877"/>
                  <a:gd name="connsiteX3" fmla="*/ 358812 w 362494"/>
                  <a:gd name="connsiteY3" fmla="*/ 250719 h 361877"/>
                  <a:gd name="connsiteX4" fmla="*/ 353110 w 362494"/>
                  <a:gd name="connsiteY4" fmla="*/ 269088 h 361877"/>
                  <a:gd name="connsiteX5" fmla="*/ 330936 w 362494"/>
                  <a:gd name="connsiteY5" fmla="*/ 237142 h 361877"/>
                  <a:gd name="connsiteX6" fmla="*/ 182571 w 362494"/>
                  <a:gd name="connsiteY6" fmla="*/ 210354 h 361877"/>
                  <a:gd name="connsiteX7" fmla="*/ 138449 w 362494"/>
                  <a:gd name="connsiteY7" fmla="*/ 278988 h 361877"/>
                  <a:gd name="connsiteX8" fmla="*/ 138732 w 362494"/>
                  <a:gd name="connsiteY8" fmla="*/ 299828 h 361877"/>
                  <a:gd name="connsiteX9" fmla="*/ 110380 w 362494"/>
                  <a:gd name="connsiteY9" fmla="*/ 258982 h 361877"/>
                  <a:gd name="connsiteX10" fmla="*/ 78566 w 362494"/>
                  <a:gd name="connsiteY10" fmla="*/ 253238 h 361877"/>
                  <a:gd name="connsiteX11" fmla="*/ 72821 w 362494"/>
                  <a:gd name="connsiteY11" fmla="*/ 285052 h 361877"/>
                  <a:gd name="connsiteX12" fmla="*/ 105212 w 362494"/>
                  <a:gd name="connsiteY12" fmla="*/ 331716 h 361877"/>
                  <a:gd name="connsiteX13" fmla="*/ 85982 w 362494"/>
                  <a:gd name="connsiteY13" fmla="*/ 351754 h 361877"/>
                  <a:gd name="connsiteX14" fmla="*/ 82046 w 362494"/>
                  <a:gd name="connsiteY14" fmla="*/ 361877 h 361877"/>
                  <a:gd name="connsiteX15" fmla="*/ 53086 w 362494"/>
                  <a:gd name="connsiteY15" fmla="*/ 342352 h 361877"/>
                  <a:gd name="connsiteX16" fmla="*/ 0 w 362494"/>
                  <a:gd name="connsiteY16" fmla="*/ 214191 h 361877"/>
                  <a:gd name="connsiteX17" fmla="*/ 0 w 362494"/>
                  <a:gd name="connsiteY17" fmla="*/ 181247 h 361877"/>
                  <a:gd name="connsiteX18" fmla="*/ 181247 w 362494"/>
                  <a:gd name="connsiteY18" fmla="*/ 0 h 361877"/>
                  <a:gd name="connsiteX0" fmla="*/ 181247 w 362494"/>
                  <a:gd name="connsiteY0" fmla="*/ 0 h 361877"/>
                  <a:gd name="connsiteX1" fmla="*/ 362494 w 362494"/>
                  <a:gd name="connsiteY1" fmla="*/ 181247 h 361877"/>
                  <a:gd name="connsiteX2" fmla="*/ 362494 w 362494"/>
                  <a:gd name="connsiteY2" fmla="*/ 214191 h 361877"/>
                  <a:gd name="connsiteX3" fmla="*/ 358812 w 362494"/>
                  <a:gd name="connsiteY3" fmla="*/ 250719 h 361877"/>
                  <a:gd name="connsiteX4" fmla="*/ 353110 w 362494"/>
                  <a:gd name="connsiteY4" fmla="*/ 269088 h 361877"/>
                  <a:gd name="connsiteX5" fmla="*/ 330936 w 362494"/>
                  <a:gd name="connsiteY5" fmla="*/ 237142 h 361877"/>
                  <a:gd name="connsiteX6" fmla="*/ 182571 w 362494"/>
                  <a:gd name="connsiteY6" fmla="*/ 210354 h 361877"/>
                  <a:gd name="connsiteX7" fmla="*/ 138449 w 362494"/>
                  <a:gd name="connsiteY7" fmla="*/ 278988 h 361877"/>
                  <a:gd name="connsiteX8" fmla="*/ 138732 w 362494"/>
                  <a:gd name="connsiteY8" fmla="*/ 299828 h 361877"/>
                  <a:gd name="connsiteX9" fmla="*/ 110380 w 362494"/>
                  <a:gd name="connsiteY9" fmla="*/ 258982 h 361877"/>
                  <a:gd name="connsiteX10" fmla="*/ 78566 w 362494"/>
                  <a:gd name="connsiteY10" fmla="*/ 253238 h 361877"/>
                  <a:gd name="connsiteX11" fmla="*/ 72821 w 362494"/>
                  <a:gd name="connsiteY11" fmla="*/ 285052 h 361877"/>
                  <a:gd name="connsiteX12" fmla="*/ 105212 w 362494"/>
                  <a:gd name="connsiteY12" fmla="*/ 331716 h 361877"/>
                  <a:gd name="connsiteX13" fmla="*/ 85982 w 362494"/>
                  <a:gd name="connsiteY13" fmla="*/ 351754 h 361877"/>
                  <a:gd name="connsiteX14" fmla="*/ 82046 w 362494"/>
                  <a:gd name="connsiteY14" fmla="*/ 361877 h 361877"/>
                  <a:gd name="connsiteX15" fmla="*/ 79279 w 362494"/>
                  <a:gd name="connsiteY15" fmla="*/ 325684 h 361877"/>
                  <a:gd name="connsiteX16" fmla="*/ 0 w 362494"/>
                  <a:gd name="connsiteY16" fmla="*/ 214191 h 361877"/>
                  <a:gd name="connsiteX17" fmla="*/ 0 w 362494"/>
                  <a:gd name="connsiteY17" fmla="*/ 181247 h 361877"/>
                  <a:gd name="connsiteX18" fmla="*/ 181247 w 362494"/>
                  <a:gd name="connsiteY18" fmla="*/ 0 h 361877"/>
                  <a:gd name="connsiteX0" fmla="*/ 181247 w 362494"/>
                  <a:gd name="connsiteY0" fmla="*/ 0 h 357115"/>
                  <a:gd name="connsiteX1" fmla="*/ 362494 w 362494"/>
                  <a:gd name="connsiteY1" fmla="*/ 181247 h 357115"/>
                  <a:gd name="connsiteX2" fmla="*/ 362494 w 362494"/>
                  <a:gd name="connsiteY2" fmla="*/ 214191 h 357115"/>
                  <a:gd name="connsiteX3" fmla="*/ 358812 w 362494"/>
                  <a:gd name="connsiteY3" fmla="*/ 250719 h 357115"/>
                  <a:gd name="connsiteX4" fmla="*/ 353110 w 362494"/>
                  <a:gd name="connsiteY4" fmla="*/ 269088 h 357115"/>
                  <a:gd name="connsiteX5" fmla="*/ 330936 w 362494"/>
                  <a:gd name="connsiteY5" fmla="*/ 237142 h 357115"/>
                  <a:gd name="connsiteX6" fmla="*/ 182571 w 362494"/>
                  <a:gd name="connsiteY6" fmla="*/ 210354 h 357115"/>
                  <a:gd name="connsiteX7" fmla="*/ 138449 w 362494"/>
                  <a:gd name="connsiteY7" fmla="*/ 278988 h 357115"/>
                  <a:gd name="connsiteX8" fmla="*/ 138732 w 362494"/>
                  <a:gd name="connsiteY8" fmla="*/ 299828 h 357115"/>
                  <a:gd name="connsiteX9" fmla="*/ 110380 w 362494"/>
                  <a:gd name="connsiteY9" fmla="*/ 258982 h 357115"/>
                  <a:gd name="connsiteX10" fmla="*/ 78566 w 362494"/>
                  <a:gd name="connsiteY10" fmla="*/ 253238 h 357115"/>
                  <a:gd name="connsiteX11" fmla="*/ 72821 w 362494"/>
                  <a:gd name="connsiteY11" fmla="*/ 285052 h 357115"/>
                  <a:gd name="connsiteX12" fmla="*/ 105212 w 362494"/>
                  <a:gd name="connsiteY12" fmla="*/ 331716 h 357115"/>
                  <a:gd name="connsiteX13" fmla="*/ 85982 w 362494"/>
                  <a:gd name="connsiteY13" fmla="*/ 351754 h 357115"/>
                  <a:gd name="connsiteX14" fmla="*/ 101096 w 362494"/>
                  <a:gd name="connsiteY14" fmla="*/ 357115 h 357115"/>
                  <a:gd name="connsiteX15" fmla="*/ 79279 w 362494"/>
                  <a:gd name="connsiteY15" fmla="*/ 325684 h 357115"/>
                  <a:gd name="connsiteX16" fmla="*/ 0 w 362494"/>
                  <a:gd name="connsiteY16" fmla="*/ 214191 h 357115"/>
                  <a:gd name="connsiteX17" fmla="*/ 0 w 362494"/>
                  <a:gd name="connsiteY17" fmla="*/ 181247 h 357115"/>
                  <a:gd name="connsiteX18" fmla="*/ 181247 w 362494"/>
                  <a:gd name="connsiteY18" fmla="*/ 0 h 357115"/>
                  <a:gd name="connsiteX0" fmla="*/ 181247 w 362494"/>
                  <a:gd name="connsiteY0" fmla="*/ 59 h 357174"/>
                  <a:gd name="connsiteX1" fmla="*/ 362494 w 362494"/>
                  <a:gd name="connsiteY1" fmla="*/ 181306 h 357174"/>
                  <a:gd name="connsiteX2" fmla="*/ 362494 w 362494"/>
                  <a:gd name="connsiteY2" fmla="*/ 214250 h 357174"/>
                  <a:gd name="connsiteX3" fmla="*/ 358812 w 362494"/>
                  <a:gd name="connsiteY3" fmla="*/ 250778 h 357174"/>
                  <a:gd name="connsiteX4" fmla="*/ 353110 w 362494"/>
                  <a:gd name="connsiteY4" fmla="*/ 269147 h 357174"/>
                  <a:gd name="connsiteX5" fmla="*/ 330936 w 362494"/>
                  <a:gd name="connsiteY5" fmla="*/ 237201 h 357174"/>
                  <a:gd name="connsiteX6" fmla="*/ 182571 w 362494"/>
                  <a:gd name="connsiteY6" fmla="*/ 210413 h 357174"/>
                  <a:gd name="connsiteX7" fmla="*/ 138449 w 362494"/>
                  <a:gd name="connsiteY7" fmla="*/ 279047 h 357174"/>
                  <a:gd name="connsiteX8" fmla="*/ 138732 w 362494"/>
                  <a:gd name="connsiteY8" fmla="*/ 299887 h 357174"/>
                  <a:gd name="connsiteX9" fmla="*/ 110380 w 362494"/>
                  <a:gd name="connsiteY9" fmla="*/ 259041 h 357174"/>
                  <a:gd name="connsiteX10" fmla="*/ 78566 w 362494"/>
                  <a:gd name="connsiteY10" fmla="*/ 253297 h 357174"/>
                  <a:gd name="connsiteX11" fmla="*/ 72821 w 362494"/>
                  <a:gd name="connsiteY11" fmla="*/ 285111 h 357174"/>
                  <a:gd name="connsiteX12" fmla="*/ 105212 w 362494"/>
                  <a:gd name="connsiteY12" fmla="*/ 331775 h 357174"/>
                  <a:gd name="connsiteX13" fmla="*/ 85982 w 362494"/>
                  <a:gd name="connsiteY13" fmla="*/ 351813 h 357174"/>
                  <a:gd name="connsiteX14" fmla="*/ 101096 w 362494"/>
                  <a:gd name="connsiteY14" fmla="*/ 357174 h 357174"/>
                  <a:gd name="connsiteX15" fmla="*/ 79279 w 362494"/>
                  <a:gd name="connsiteY15" fmla="*/ 325743 h 357174"/>
                  <a:gd name="connsiteX16" fmla="*/ 0 w 362494"/>
                  <a:gd name="connsiteY16" fmla="*/ 214250 h 357174"/>
                  <a:gd name="connsiteX17" fmla="*/ 30957 w 362494"/>
                  <a:gd name="connsiteY17" fmla="*/ 167019 h 357174"/>
                  <a:gd name="connsiteX18" fmla="*/ 181247 w 362494"/>
                  <a:gd name="connsiteY18" fmla="*/ 59 h 357174"/>
                  <a:gd name="connsiteX0" fmla="*/ 150290 w 331537"/>
                  <a:gd name="connsiteY0" fmla="*/ 59 h 357174"/>
                  <a:gd name="connsiteX1" fmla="*/ 331537 w 331537"/>
                  <a:gd name="connsiteY1" fmla="*/ 181306 h 357174"/>
                  <a:gd name="connsiteX2" fmla="*/ 331537 w 331537"/>
                  <a:gd name="connsiteY2" fmla="*/ 214250 h 357174"/>
                  <a:gd name="connsiteX3" fmla="*/ 327855 w 331537"/>
                  <a:gd name="connsiteY3" fmla="*/ 250778 h 357174"/>
                  <a:gd name="connsiteX4" fmla="*/ 322153 w 331537"/>
                  <a:gd name="connsiteY4" fmla="*/ 269147 h 357174"/>
                  <a:gd name="connsiteX5" fmla="*/ 299979 w 331537"/>
                  <a:gd name="connsiteY5" fmla="*/ 237201 h 357174"/>
                  <a:gd name="connsiteX6" fmla="*/ 151614 w 331537"/>
                  <a:gd name="connsiteY6" fmla="*/ 210413 h 357174"/>
                  <a:gd name="connsiteX7" fmla="*/ 107492 w 331537"/>
                  <a:gd name="connsiteY7" fmla="*/ 279047 h 357174"/>
                  <a:gd name="connsiteX8" fmla="*/ 107775 w 331537"/>
                  <a:gd name="connsiteY8" fmla="*/ 299887 h 357174"/>
                  <a:gd name="connsiteX9" fmla="*/ 79423 w 331537"/>
                  <a:gd name="connsiteY9" fmla="*/ 259041 h 357174"/>
                  <a:gd name="connsiteX10" fmla="*/ 47609 w 331537"/>
                  <a:gd name="connsiteY10" fmla="*/ 253297 h 357174"/>
                  <a:gd name="connsiteX11" fmla="*/ 41864 w 331537"/>
                  <a:gd name="connsiteY11" fmla="*/ 285111 h 357174"/>
                  <a:gd name="connsiteX12" fmla="*/ 74255 w 331537"/>
                  <a:gd name="connsiteY12" fmla="*/ 331775 h 357174"/>
                  <a:gd name="connsiteX13" fmla="*/ 55025 w 331537"/>
                  <a:gd name="connsiteY13" fmla="*/ 351813 h 357174"/>
                  <a:gd name="connsiteX14" fmla="*/ 70139 w 331537"/>
                  <a:gd name="connsiteY14" fmla="*/ 357174 h 357174"/>
                  <a:gd name="connsiteX15" fmla="*/ 48322 w 331537"/>
                  <a:gd name="connsiteY15" fmla="*/ 325743 h 357174"/>
                  <a:gd name="connsiteX16" fmla="*/ 21431 w 331537"/>
                  <a:gd name="connsiteY16" fmla="*/ 219013 h 357174"/>
                  <a:gd name="connsiteX17" fmla="*/ 0 w 331537"/>
                  <a:gd name="connsiteY17" fmla="*/ 167019 h 357174"/>
                  <a:gd name="connsiteX18" fmla="*/ 150290 w 331537"/>
                  <a:gd name="connsiteY18" fmla="*/ 59 h 357174"/>
                  <a:gd name="connsiteX0" fmla="*/ 157433 w 331537"/>
                  <a:gd name="connsiteY0" fmla="*/ 145 h 314397"/>
                  <a:gd name="connsiteX1" fmla="*/ 331537 w 331537"/>
                  <a:gd name="connsiteY1" fmla="*/ 138529 h 314397"/>
                  <a:gd name="connsiteX2" fmla="*/ 331537 w 331537"/>
                  <a:gd name="connsiteY2" fmla="*/ 171473 h 314397"/>
                  <a:gd name="connsiteX3" fmla="*/ 327855 w 331537"/>
                  <a:gd name="connsiteY3" fmla="*/ 208001 h 314397"/>
                  <a:gd name="connsiteX4" fmla="*/ 322153 w 331537"/>
                  <a:gd name="connsiteY4" fmla="*/ 226370 h 314397"/>
                  <a:gd name="connsiteX5" fmla="*/ 299979 w 331537"/>
                  <a:gd name="connsiteY5" fmla="*/ 194424 h 314397"/>
                  <a:gd name="connsiteX6" fmla="*/ 151614 w 331537"/>
                  <a:gd name="connsiteY6" fmla="*/ 167636 h 314397"/>
                  <a:gd name="connsiteX7" fmla="*/ 107492 w 331537"/>
                  <a:gd name="connsiteY7" fmla="*/ 236270 h 314397"/>
                  <a:gd name="connsiteX8" fmla="*/ 107775 w 331537"/>
                  <a:gd name="connsiteY8" fmla="*/ 257110 h 314397"/>
                  <a:gd name="connsiteX9" fmla="*/ 79423 w 331537"/>
                  <a:gd name="connsiteY9" fmla="*/ 216264 h 314397"/>
                  <a:gd name="connsiteX10" fmla="*/ 47609 w 331537"/>
                  <a:gd name="connsiteY10" fmla="*/ 210520 h 314397"/>
                  <a:gd name="connsiteX11" fmla="*/ 41864 w 331537"/>
                  <a:gd name="connsiteY11" fmla="*/ 242334 h 314397"/>
                  <a:gd name="connsiteX12" fmla="*/ 74255 w 331537"/>
                  <a:gd name="connsiteY12" fmla="*/ 288998 h 314397"/>
                  <a:gd name="connsiteX13" fmla="*/ 55025 w 331537"/>
                  <a:gd name="connsiteY13" fmla="*/ 309036 h 314397"/>
                  <a:gd name="connsiteX14" fmla="*/ 70139 w 331537"/>
                  <a:gd name="connsiteY14" fmla="*/ 314397 h 314397"/>
                  <a:gd name="connsiteX15" fmla="*/ 48322 w 331537"/>
                  <a:gd name="connsiteY15" fmla="*/ 282966 h 314397"/>
                  <a:gd name="connsiteX16" fmla="*/ 21431 w 331537"/>
                  <a:gd name="connsiteY16" fmla="*/ 176236 h 314397"/>
                  <a:gd name="connsiteX17" fmla="*/ 0 w 331537"/>
                  <a:gd name="connsiteY17" fmla="*/ 124242 h 314397"/>
                  <a:gd name="connsiteX18" fmla="*/ 157433 w 331537"/>
                  <a:gd name="connsiteY18" fmla="*/ 145 h 314397"/>
                  <a:gd name="connsiteX0" fmla="*/ 157433 w 331537"/>
                  <a:gd name="connsiteY0" fmla="*/ 262 h 314514"/>
                  <a:gd name="connsiteX1" fmla="*/ 257718 w 331537"/>
                  <a:gd name="connsiteY1" fmla="*/ 110071 h 314514"/>
                  <a:gd name="connsiteX2" fmla="*/ 331537 w 331537"/>
                  <a:gd name="connsiteY2" fmla="*/ 171590 h 314514"/>
                  <a:gd name="connsiteX3" fmla="*/ 327855 w 331537"/>
                  <a:gd name="connsiteY3" fmla="*/ 208118 h 314514"/>
                  <a:gd name="connsiteX4" fmla="*/ 322153 w 331537"/>
                  <a:gd name="connsiteY4" fmla="*/ 226487 h 314514"/>
                  <a:gd name="connsiteX5" fmla="*/ 299979 w 331537"/>
                  <a:gd name="connsiteY5" fmla="*/ 194541 h 314514"/>
                  <a:gd name="connsiteX6" fmla="*/ 151614 w 331537"/>
                  <a:gd name="connsiteY6" fmla="*/ 167753 h 314514"/>
                  <a:gd name="connsiteX7" fmla="*/ 107492 w 331537"/>
                  <a:gd name="connsiteY7" fmla="*/ 236387 h 314514"/>
                  <a:gd name="connsiteX8" fmla="*/ 107775 w 331537"/>
                  <a:gd name="connsiteY8" fmla="*/ 257227 h 314514"/>
                  <a:gd name="connsiteX9" fmla="*/ 79423 w 331537"/>
                  <a:gd name="connsiteY9" fmla="*/ 216381 h 314514"/>
                  <a:gd name="connsiteX10" fmla="*/ 47609 w 331537"/>
                  <a:gd name="connsiteY10" fmla="*/ 210637 h 314514"/>
                  <a:gd name="connsiteX11" fmla="*/ 41864 w 331537"/>
                  <a:gd name="connsiteY11" fmla="*/ 242451 h 314514"/>
                  <a:gd name="connsiteX12" fmla="*/ 74255 w 331537"/>
                  <a:gd name="connsiteY12" fmla="*/ 289115 h 314514"/>
                  <a:gd name="connsiteX13" fmla="*/ 55025 w 331537"/>
                  <a:gd name="connsiteY13" fmla="*/ 309153 h 314514"/>
                  <a:gd name="connsiteX14" fmla="*/ 70139 w 331537"/>
                  <a:gd name="connsiteY14" fmla="*/ 314514 h 314514"/>
                  <a:gd name="connsiteX15" fmla="*/ 48322 w 331537"/>
                  <a:gd name="connsiteY15" fmla="*/ 283083 h 314514"/>
                  <a:gd name="connsiteX16" fmla="*/ 21431 w 331537"/>
                  <a:gd name="connsiteY16" fmla="*/ 176353 h 314514"/>
                  <a:gd name="connsiteX17" fmla="*/ 0 w 331537"/>
                  <a:gd name="connsiteY17" fmla="*/ 124359 h 314514"/>
                  <a:gd name="connsiteX18" fmla="*/ 157433 w 331537"/>
                  <a:gd name="connsiteY18" fmla="*/ 262 h 314514"/>
                  <a:gd name="connsiteX0" fmla="*/ 157433 w 331537"/>
                  <a:gd name="connsiteY0" fmla="*/ 262 h 314514"/>
                  <a:gd name="connsiteX1" fmla="*/ 257718 w 331537"/>
                  <a:gd name="connsiteY1" fmla="*/ 110071 h 314514"/>
                  <a:gd name="connsiteX2" fmla="*/ 331537 w 331537"/>
                  <a:gd name="connsiteY2" fmla="*/ 171590 h 314514"/>
                  <a:gd name="connsiteX3" fmla="*/ 327855 w 331537"/>
                  <a:gd name="connsiteY3" fmla="*/ 208118 h 314514"/>
                  <a:gd name="connsiteX4" fmla="*/ 226903 w 331537"/>
                  <a:gd name="connsiteY4" fmla="*/ 143143 h 314514"/>
                  <a:gd name="connsiteX5" fmla="*/ 299979 w 331537"/>
                  <a:gd name="connsiteY5" fmla="*/ 194541 h 314514"/>
                  <a:gd name="connsiteX6" fmla="*/ 151614 w 331537"/>
                  <a:gd name="connsiteY6" fmla="*/ 167753 h 314514"/>
                  <a:gd name="connsiteX7" fmla="*/ 107492 w 331537"/>
                  <a:gd name="connsiteY7" fmla="*/ 236387 h 314514"/>
                  <a:gd name="connsiteX8" fmla="*/ 107775 w 331537"/>
                  <a:gd name="connsiteY8" fmla="*/ 257227 h 314514"/>
                  <a:gd name="connsiteX9" fmla="*/ 79423 w 331537"/>
                  <a:gd name="connsiteY9" fmla="*/ 216381 h 314514"/>
                  <a:gd name="connsiteX10" fmla="*/ 47609 w 331537"/>
                  <a:gd name="connsiteY10" fmla="*/ 210637 h 314514"/>
                  <a:gd name="connsiteX11" fmla="*/ 41864 w 331537"/>
                  <a:gd name="connsiteY11" fmla="*/ 242451 h 314514"/>
                  <a:gd name="connsiteX12" fmla="*/ 74255 w 331537"/>
                  <a:gd name="connsiteY12" fmla="*/ 289115 h 314514"/>
                  <a:gd name="connsiteX13" fmla="*/ 55025 w 331537"/>
                  <a:gd name="connsiteY13" fmla="*/ 309153 h 314514"/>
                  <a:gd name="connsiteX14" fmla="*/ 70139 w 331537"/>
                  <a:gd name="connsiteY14" fmla="*/ 314514 h 314514"/>
                  <a:gd name="connsiteX15" fmla="*/ 48322 w 331537"/>
                  <a:gd name="connsiteY15" fmla="*/ 283083 h 314514"/>
                  <a:gd name="connsiteX16" fmla="*/ 21431 w 331537"/>
                  <a:gd name="connsiteY16" fmla="*/ 176353 h 314514"/>
                  <a:gd name="connsiteX17" fmla="*/ 0 w 331537"/>
                  <a:gd name="connsiteY17" fmla="*/ 124359 h 314514"/>
                  <a:gd name="connsiteX18" fmla="*/ 157433 w 331537"/>
                  <a:gd name="connsiteY18" fmla="*/ 262 h 314514"/>
                  <a:gd name="connsiteX0" fmla="*/ 157433 w 331537"/>
                  <a:gd name="connsiteY0" fmla="*/ 262 h 314514"/>
                  <a:gd name="connsiteX1" fmla="*/ 257718 w 331537"/>
                  <a:gd name="connsiteY1" fmla="*/ 110071 h 314514"/>
                  <a:gd name="connsiteX2" fmla="*/ 331537 w 331537"/>
                  <a:gd name="connsiteY2" fmla="*/ 171590 h 314514"/>
                  <a:gd name="connsiteX3" fmla="*/ 242130 w 331537"/>
                  <a:gd name="connsiteY3" fmla="*/ 139061 h 314514"/>
                  <a:gd name="connsiteX4" fmla="*/ 226903 w 331537"/>
                  <a:gd name="connsiteY4" fmla="*/ 143143 h 314514"/>
                  <a:gd name="connsiteX5" fmla="*/ 299979 w 331537"/>
                  <a:gd name="connsiteY5" fmla="*/ 194541 h 314514"/>
                  <a:gd name="connsiteX6" fmla="*/ 151614 w 331537"/>
                  <a:gd name="connsiteY6" fmla="*/ 167753 h 314514"/>
                  <a:gd name="connsiteX7" fmla="*/ 107492 w 331537"/>
                  <a:gd name="connsiteY7" fmla="*/ 236387 h 314514"/>
                  <a:gd name="connsiteX8" fmla="*/ 107775 w 331537"/>
                  <a:gd name="connsiteY8" fmla="*/ 257227 h 314514"/>
                  <a:gd name="connsiteX9" fmla="*/ 79423 w 331537"/>
                  <a:gd name="connsiteY9" fmla="*/ 216381 h 314514"/>
                  <a:gd name="connsiteX10" fmla="*/ 47609 w 331537"/>
                  <a:gd name="connsiteY10" fmla="*/ 210637 h 314514"/>
                  <a:gd name="connsiteX11" fmla="*/ 41864 w 331537"/>
                  <a:gd name="connsiteY11" fmla="*/ 242451 h 314514"/>
                  <a:gd name="connsiteX12" fmla="*/ 74255 w 331537"/>
                  <a:gd name="connsiteY12" fmla="*/ 289115 h 314514"/>
                  <a:gd name="connsiteX13" fmla="*/ 55025 w 331537"/>
                  <a:gd name="connsiteY13" fmla="*/ 309153 h 314514"/>
                  <a:gd name="connsiteX14" fmla="*/ 70139 w 331537"/>
                  <a:gd name="connsiteY14" fmla="*/ 314514 h 314514"/>
                  <a:gd name="connsiteX15" fmla="*/ 48322 w 331537"/>
                  <a:gd name="connsiteY15" fmla="*/ 283083 h 314514"/>
                  <a:gd name="connsiteX16" fmla="*/ 21431 w 331537"/>
                  <a:gd name="connsiteY16" fmla="*/ 176353 h 314514"/>
                  <a:gd name="connsiteX17" fmla="*/ 0 w 331537"/>
                  <a:gd name="connsiteY17" fmla="*/ 124359 h 314514"/>
                  <a:gd name="connsiteX18" fmla="*/ 157433 w 331537"/>
                  <a:gd name="connsiteY18" fmla="*/ 262 h 314514"/>
                  <a:gd name="connsiteX0" fmla="*/ 157433 w 299979"/>
                  <a:gd name="connsiteY0" fmla="*/ 262 h 314514"/>
                  <a:gd name="connsiteX1" fmla="*/ 257718 w 299979"/>
                  <a:gd name="connsiteY1" fmla="*/ 110071 h 314514"/>
                  <a:gd name="connsiteX2" fmla="*/ 252956 w 299979"/>
                  <a:gd name="connsiteY2" fmla="*/ 126346 h 314514"/>
                  <a:gd name="connsiteX3" fmla="*/ 242130 w 299979"/>
                  <a:gd name="connsiteY3" fmla="*/ 139061 h 314514"/>
                  <a:gd name="connsiteX4" fmla="*/ 226903 w 299979"/>
                  <a:gd name="connsiteY4" fmla="*/ 143143 h 314514"/>
                  <a:gd name="connsiteX5" fmla="*/ 299979 w 299979"/>
                  <a:gd name="connsiteY5" fmla="*/ 194541 h 314514"/>
                  <a:gd name="connsiteX6" fmla="*/ 151614 w 299979"/>
                  <a:gd name="connsiteY6" fmla="*/ 167753 h 314514"/>
                  <a:gd name="connsiteX7" fmla="*/ 107492 w 299979"/>
                  <a:gd name="connsiteY7" fmla="*/ 236387 h 314514"/>
                  <a:gd name="connsiteX8" fmla="*/ 107775 w 299979"/>
                  <a:gd name="connsiteY8" fmla="*/ 257227 h 314514"/>
                  <a:gd name="connsiteX9" fmla="*/ 79423 w 299979"/>
                  <a:gd name="connsiteY9" fmla="*/ 216381 h 314514"/>
                  <a:gd name="connsiteX10" fmla="*/ 47609 w 299979"/>
                  <a:gd name="connsiteY10" fmla="*/ 210637 h 314514"/>
                  <a:gd name="connsiteX11" fmla="*/ 41864 w 299979"/>
                  <a:gd name="connsiteY11" fmla="*/ 242451 h 314514"/>
                  <a:gd name="connsiteX12" fmla="*/ 74255 w 299979"/>
                  <a:gd name="connsiteY12" fmla="*/ 289115 h 314514"/>
                  <a:gd name="connsiteX13" fmla="*/ 55025 w 299979"/>
                  <a:gd name="connsiteY13" fmla="*/ 309153 h 314514"/>
                  <a:gd name="connsiteX14" fmla="*/ 70139 w 299979"/>
                  <a:gd name="connsiteY14" fmla="*/ 314514 h 314514"/>
                  <a:gd name="connsiteX15" fmla="*/ 48322 w 299979"/>
                  <a:gd name="connsiteY15" fmla="*/ 283083 h 314514"/>
                  <a:gd name="connsiteX16" fmla="*/ 21431 w 299979"/>
                  <a:gd name="connsiteY16" fmla="*/ 176353 h 314514"/>
                  <a:gd name="connsiteX17" fmla="*/ 0 w 299979"/>
                  <a:gd name="connsiteY17" fmla="*/ 124359 h 314514"/>
                  <a:gd name="connsiteX18" fmla="*/ 157433 w 299979"/>
                  <a:gd name="connsiteY18" fmla="*/ 262 h 314514"/>
                  <a:gd name="connsiteX0" fmla="*/ 157433 w 257718"/>
                  <a:gd name="connsiteY0" fmla="*/ 262 h 314514"/>
                  <a:gd name="connsiteX1" fmla="*/ 257718 w 257718"/>
                  <a:gd name="connsiteY1" fmla="*/ 110071 h 314514"/>
                  <a:gd name="connsiteX2" fmla="*/ 252956 w 257718"/>
                  <a:gd name="connsiteY2" fmla="*/ 126346 h 314514"/>
                  <a:gd name="connsiteX3" fmla="*/ 242130 w 257718"/>
                  <a:gd name="connsiteY3" fmla="*/ 139061 h 314514"/>
                  <a:gd name="connsiteX4" fmla="*/ 226903 w 257718"/>
                  <a:gd name="connsiteY4" fmla="*/ 143143 h 314514"/>
                  <a:gd name="connsiteX5" fmla="*/ 247592 w 257718"/>
                  <a:gd name="connsiteY5" fmla="*/ 158823 h 314514"/>
                  <a:gd name="connsiteX6" fmla="*/ 151614 w 257718"/>
                  <a:gd name="connsiteY6" fmla="*/ 167753 h 314514"/>
                  <a:gd name="connsiteX7" fmla="*/ 107492 w 257718"/>
                  <a:gd name="connsiteY7" fmla="*/ 236387 h 314514"/>
                  <a:gd name="connsiteX8" fmla="*/ 107775 w 257718"/>
                  <a:gd name="connsiteY8" fmla="*/ 257227 h 314514"/>
                  <a:gd name="connsiteX9" fmla="*/ 79423 w 257718"/>
                  <a:gd name="connsiteY9" fmla="*/ 216381 h 314514"/>
                  <a:gd name="connsiteX10" fmla="*/ 47609 w 257718"/>
                  <a:gd name="connsiteY10" fmla="*/ 210637 h 314514"/>
                  <a:gd name="connsiteX11" fmla="*/ 41864 w 257718"/>
                  <a:gd name="connsiteY11" fmla="*/ 242451 h 314514"/>
                  <a:gd name="connsiteX12" fmla="*/ 74255 w 257718"/>
                  <a:gd name="connsiteY12" fmla="*/ 289115 h 314514"/>
                  <a:gd name="connsiteX13" fmla="*/ 55025 w 257718"/>
                  <a:gd name="connsiteY13" fmla="*/ 309153 h 314514"/>
                  <a:gd name="connsiteX14" fmla="*/ 70139 w 257718"/>
                  <a:gd name="connsiteY14" fmla="*/ 314514 h 314514"/>
                  <a:gd name="connsiteX15" fmla="*/ 48322 w 257718"/>
                  <a:gd name="connsiteY15" fmla="*/ 283083 h 314514"/>
                  <a:gd name="connsiteX16" fmla="*/ 21431 w 257718"/>
                  <a:gd name="connsiteY16" fmla="*/ 176353 h 314514"/>
                  <a:gd name="connsiteX17" fmla="*/ 0 w 257718"/>
                  <a:gd name="connsiteY17" fmla="*/ 124359 h 314514"/>
                  <a:gd name="connsiteX18" fmla="*/ 157433 w 257718"/>
                  <a:gd name="connsiteY18" fmla="*/ 262 h 31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7718" h="314514">
                    <a:moveTo>
                      <a:pt x="157433" y="262"/>
                    </a:moveTo>
                    <a:cubicBezTo>
                      <a:pt x="200386" y="-2119"/>
                      <a:pt x="257718" y="9971"/>
                      <a:pt x="257718" y="110071"/>
                    </a:cubicBezTo>
                    <a:lnTo>
                      <a:pt x="252956" y="126346"/>
                    </a:lnTo>
                    <a:cubicBezTo>
                      <a:pt x="252956" y="138859"/>
                      <a:pt x="244544" y="127262"/>
                      <a:pt x="242130" y="139061"/>
                    </a:cubicBezTo>
                    <a:lnTo>
                      <a:pt x="226903" y="143143"/>
                    </a:lnTo>
                    <a:lnTo>
                      <a:pt x="247592" y="158823"/>
                    </a:lnTo>
                    <a:cubicBezTo>
                      <a:pt x="214019" y="110456"/>
                      <a:pt x="174964" y="154826"/>
                      <a:pt x="151614" y="167753"/>
                    </a:cubicBezTo>
                    <a:cubicBezTo>
                      <a:pt x="128264" y="180680"/>
                      <a:pt x="112340" y="209539"/>
                      <a:pt x="107492" y="236387"/>
                    </a:cubicBezTo>
                    <a:cubicBezTo>
                      <a:pt x="107586" y="243334"/>
                      <a:pt x="107681" y="250280"/>
                      <a:pt x="107775" y="257227"/>
                    </a:cubicBezTo>
                    <a:lnTo>
                      <a:pt x="79423" y="216381"/>
                    </a:lnTo>
                    <a:cubicBezTo>
                      <a:pt x="72224" y="206010"/>
                      <a:pt x="57980" y="203438"/>
                      <a:pt x="47609" y="210637"/>
                    </a:cubicBezTo>
                    <a:cubicBezTo>
                      <a:pt x="37237" y="217836"/>
                      <a:pt x="34665" y="232080"/>
                      <a:pt x="41864" y="242451"/>
                    </a:cubicBezTo>
                    <a:lnTo>
                      <a:pt x="74255" y="289115"/>
                    </a:lnTo>
                    <a:lnTo>
                      <a:pt x="55025" y="309153"/>
                    </a:lnTo>
                    <a:lnTo>
                      <a:pt x="70139" y="314514"/>
                    </a:lnTo>
                    <a:cubicBezTo>
                      <a:pt x="60486" y="308006"/>
                      <a:pt x="57975" y="289591"/>
                      <a:pt x="48322" y="283083"/>
                    </a:cubicBezTo>
                    <a:cubicBezTo>
                      <a:pt x="15523" y="250284"/>
                      <a:pt x="21431" y="226403"/>
                      <a:pt x="21431" y="176353"/>
                    </a:cubicBezTo>
                    <a:lnTo>
                      <a:pt x="0" y="124359"/>
                    </a:lnTo>
                    <a:cubicBezTo>
                      <a:pt x="0" y="24259"/>
                      <a:pt x="114480" y="2643"/>
                      <a:pt x="157433" y="26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39" name="Полилиния 38"/>
            <p:cNvSpPr/>
            <p:nvPr/>
          </p:nvSpPr>
          <p:spPr>
            <a:xfrm flipH="1">
              <a:off x="5432979" y="3538887"/>
              <a:ext cx="186312" cy="574829"/>
            </a:xfrm>
            <a:custGeom>
              <a:avLst/>
              <a:gdLst>
                <a:gd name="connsiteX0" fmla="*/ 0 w 333375"/>
                <a:gd name="connsiteY0" fmla="*/ 85725 h 1076325"/>
                <a:gd name="connsiteX1" fmla="*/ 23813 w 333375"/>
                <a:gd name="connsiteY1" fmla="*/ 0 h 1076325"/>
                <a:gd name="connsiteX2" fmla="*/ 119063 w 333375"/>
                <a:gd name="connsiteY2" fmla="*/ 147638 h 1076325"/>
                <a:gd name="connsiteX3" fmla="*/ 204788 w 333375"/>
                <a:gd name="connsiteY3" fmla="*/ 119063 h 1076325"/>
                <a:gd name="connsiteX4" fmla="*/ 233363 w 333375"/>
                <a:gd name="connsiteY4" fmla="*/ 71438 h 1076325"/>
                <a:gd name="connsiteX5" fmla="*/ 333375 w 333375"/>
                <a:gd name="connsiteY5" fmla="*/ 366713 h 1076325"/>
                <a:gd name="connsiteX6" fmla="*/ 266700 w 333375"/>
                <a:gd name="connsiteY6" fmla="*/ 604838 h 1076325"/>
                <a:gd name="connsiteX7" fmla="*/ 257175 w 333375"/>
                <a:gd name="connsiteY7" fmla="*/ 1076325 h 1076325"/>
                <a:gd name="connsiteX8" fmla="*/ 200025 w 333375"/>
                <a:gd name="connsiteY8" fmla="*/ 557213 h 1076325"/>
                <a:gd name="connsiteX9" fmla="*/ 66675 w 333375"/>
                <a:gd name="connsiteY9" fmla="*/ 452438 h 1076325"/>
                <a:gd name="connsiteX10" fmla="*/ 95250 w 333375"/>
                <a:gd name="connsiteY10" fmla="*/ 295275 h 1076325"/>
                <a:gd name="connsiteX11" fmla="*/ 0 w 333375"/>
                <a:gd name="connsiteY11" fmla="*/ 85725 h 1076325"/>
                <a:gd name="connsiteX0" fmla="*/ 0 w 326685"/>
                <a:gd name="connsiteY0" fmla="*/ 85725 h 1076325"/>
                <a:gd name="connsiteX1" fmla="*/ 17123 w 326685"/>
                <a:gd name="connsiteY1" fmla="*/ 0 h 1076325"/>
                <a:gd name="connsiteX2" fmla="*/ 112373 w 326685"/>
                <a:gd name="connsiteY2" fmla="*/ 147638 h 1076325"/>
                <a:gd name="connsiteX3" fmla="*/ 198098 w 326685"/>
                <a:gd name="connsiteY3" fmla="*/ 119063 h 1076325"/>
                <a:gd name="connsiteX4" fmla="*/ 226673 w 326685"/>
                <a:gd name="connsiteY4" fmla="*/ 71438 h 1076325"/>
                <a:gd name="connsiteX5" fmla="*/ 326685 w 326685"/>
                <a:gd name="connsiteY5" fmla="*/ 366713 h 1076325"/>
                <a:gd name="connsiteX6" fmla="*/ 260010 w 326685"/>
                <a:gd name="connsiteY6" fmla="*/ 604838 h 1076325"/>
                <a:gd name="connsiteX7" fmla="*/ 250485 w 326685"/>
                <a:gd name="connsiteY7" fmla="*/ 1076325 h 1076325"/>
                <a:gd name="connsiteX8" fmla="*/ 193335 w 326685"/>
                <a:gd name="connsiteY8" fmla="*/ 557213 h 1076325"/>
                <a:gd name="connsiteX9" fmla="*/ 59985 w 326685"/>
                <a:gd name="connsiteY9" fmla="*/ 452438 h 1076325"/>
                <a:gd name="connsiteX10" fmla="*/ 88560 w 326685"/>
                <a:gd name="connsiteY10" fmla="*/ 295275 h 1076325"/>
                <a:gd name="connsiteX11" fmla="*/ 0 w 326685"/>
                <a:gd name="connsiteY11" fmla="*/ 85725 h 1076325"/>
                <a:gd name="connsiteX0" fmla="*/ 0 w 326685"/>
                <a:gd name="connsiteY0" fmla="*/ 85725 h 1076325"/>
                <a:gd name="connsiteX1" fmla="*/ 17123 w 326685"/>
                <a:gd name="connsiteY1" fmla="*/ 0 h 1076325"/>
                <a:gd name="connsiteX2" fmla="*/ 112373 w 326685"/>
                <a:gd name="connsiteY2" fmla="*/ 147638 h 1076325"/>
                <a:gd name="connsiteX3" fmla="*/ 198098 w 326685"/>
                <a:gd name="connsiteY3" fmla="*/ 119063 h 1076325"/>
                <a:gd name="connsiteX4" fmla="*/ 226673 w 326685"/>
                <a:gd name="connsiteY4" fmla="*/ 71438 h 1076325"/>
                <a:gd name="connsiteX5" fmla="*/ 326685 w 326685"/>
                <a:gd name="connsiteY5" fmla="*/ 366713 h 1076325"/>
                <a:gd name="connsiteX6" fmla="*/ 260010 w 326685"/>
                <a:gd name="connsiteY6" fmla="*/ 604838 h 1076325"/>
                <a:gd name="connsiteX7" fmla="*/ 250485 w 326685"/>
                <a:gd name="connsiteY7" fmla="*/ 1076325 h 1076325"/>
                <a:gd name="connsiteX8" fmla="*/ 177726 w 326685"/>
                <a:gd name="connsiteY8" fmla="*/ 588169 h 1076325"/>
                <a:gd name="connsiteX9" fmla="*/ 59985 w 326685"/>
                <a:gd name="connsiteY9" fmla="*/ 452438 h 1076325"/>
                <a:gd name="connsiteX10" fmla="*/ 88560 w 326685"/>
                <a:gd name="connsiteY10" fmla="*/ 295275 h 1076325"/>
                <a:gd name="connsiteX11" fmla="*/ 0 w 326685"/>
                <a:gd name="connsiteY11" fmla="*/ 85725 h 1076325"/>
                <a:gd name="connsiteX0" fmla="*/ 0 w 326685"/>
                <a:gd name="connsiteY0" fmla="*/ 85725 h 1076325"/>
                <a:gd name="connsiteX1" fmla="*/ 17123 w 326685"/>
                <a:gd name="connsiteY1" fmla="*/ 0 h 1076325"/>
                <a:gd name="connsiteX2" fmla="*/ 112373 w 326685"/>
                <a:gd name="connsiteY2" fmla="*/ 147638 h 1076325"/>
                <a:gd name="connsiteX3" fmla="*/ 198098 w 326685"/>
                <a:gd name="connsiteY3" fmla="*/ 119063 h 1076325"/>
                <a:gd name="connsiteX4" fmla="*/ 226673 w 326685"/>
                <a:gd name="connsiteY4" fmla="*/ 71438 h 1076325"/>
                <a:gd name="connsiteX5" fmla="*/ 326685 w 326685"/>
                <a:gd name="connsiteY5" fmla="*/ 366713 h 1076325"/>
                <a:gd name="connsiteX6" fmla="*/ 260010 w 326685"/>
                <a:gd name="connsiteY6" fmla="*/ 604838 h 1076325"/>
                <a:gd name="connsiteX7" fmla="*/ 250485 w 326685"/>
                <a:gd name="connsiteY7" fmla="*/ 1076325 h 1076325"/>
                <a:gd name="connsiteX8" fmla="*/ 177726 w 326685"/>
                <a:gd name="connsiteY8" fmla="*/ 588169 h 1076325"/>
                <a:gd name="connsiteX9" fmla="*/ 59985 w 326685"/>
                <a:gd name="connsiteY9" fmla="*/ 452438 h 1076325"/>
                <a:gd name="connsiteX10" fmla="*/ 68490 w 326685"/>
                <a:gd name="connsiteY10" fmla="*/ 314325 h 1076325"/>
                <a:gd name="connsiteX11" fmla="*/ 0 w 326685"/>
                <a:gd name="connsiteY11" fmla="*/ 85725 h 107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685" h="1076325">
                  <a:moveTo>
                    <a:pt x="0" y="85725"/>
                  </a:moveTo>
                  <a:lnTo>
                    <a:pt x="17123" y="0"/>
                  </a:lnTo>
                  <a:lnTo>
                    <a:pt x="112373" y="147638"/>
                  </a:lnTo>
                  <a:lnTo>
                    <a:pt x="198098" y="119063"/>
                  </a:lnTo>
                  <a:lnTo>
                    <a:pt x="226673" y="71438"/>
                  </a:lnTo>
                  <a:lnTo>
                    <a:pt x="326685" y="366713"/>
                  </a:lnTo>
                  <a:lnTo>
                    <a:pt x="260010" y="604838"/>
                  </a:lnTo>
                  <a:lnTo>
                    <a:pt x="250485" y="1076325"/>
                  </a:lnTo>
                  <a:lnTo>
                    <a:pt x="177726" y="588169"/>
                  </a:lnTo>
                  <a:lnTo>
                    <a:pt x="59985" y="452438"/>
                  </a:lnTo>
                  <a:lnTo>
                    <a:pt x="68490" y="314325"/>
                  </a:lnTo>
                  <a:lnTo>
                    <a:pt x="0" y="8572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40" name="Полилиния 39"/>
            <p:cNvSpPr/>
            <p:nvPr/>
          </p:nvSpPr>
          <p:spPr>
            <a:xfrm flipH="1">
              <a:off x="5394712" y="3539483"/>
              <a:ext cx="104282" cy="653676"/>
            </a:xfrm>
            <a:custGeom>
              <a:avLst/>
              <a:gdLst>
                <a:gd name="connsiteX0" fmla="*/ 0 w 185738"/>
                <a:gd name="connsiteY0" fmla="*/ 85725 h 1233487"/>
                <a:gd name="connsiteX1" fmla="*/ 90488 w 185738"/>
                <a:gd name="connsiteY1" fmla="*/ 366712 h 1233487"/>
                <a:gd name="connsiteX2" fmla="*/ 28575 w 185738"/>
                <a:gd name="connsiteY2" fmla="*/ 600075 h 1233487"/>
                <a:gd name="connsiteX3" fmla="*/ 19050 w 185738"/>
                <a:gd name="connsiteY3" fmla="*/ 962025 h 1233487"/>
                <a:gd name="connsiteX4" fmla="*/ 66675 w 185738"/>
                <a:gd name="connsiteY4" fmla="*/ 1233487 h 1233487"/>
                <a:gd name="connsiteX5" fmla="*/ 185738 w 185738"/>
                <a:gd name="connsiteY5" fmla="*/ 1114425 h 1233487"/>
                <a:gd name="connsiteX6" fmla="*/ 128588 w 185738"/>
                <a:gd name="connsiteY6" fmla="*/ 742950 h 1233487"/>
                <a:gd name="connsiteX7" fmla="*/ 133350 w 185738"/>
                <a:gd name="connsiteY7" fmla="*/ 385762 h 1233487"/>
                <a:gd name="connsiteX8" fmla="*/ 119063 w 185738"/>
                <a:gd name="connsiteY8" fmla="*/ 85725 h 1233487"/>
                <a:gd name="connsiteX9" fmla="*/ 47625 w 185738"/>
                <a:gd name="connsiteY9" fmla="*/ 0 h 1233487"/>
                <a:gd name="connsiteX10" fmla="*/ 0 w 185738"/>
                <a:gd name="connsiteY10" fmla="*/ 85725 h 1233487"/>
                <a:gd name="connsiteX0" fmla="*/ 9525 w 195263"/>
                <a:gd name="connsiteY0" fmla="*/ 76200 h 1223962"/>
                <a:gd name="connsiteX1" fmla="*/ 100013 w 195263"/>
                <a:gd name="connsiteY1" fmla="*/ 357187 h 1223962"/>
                <a:gd name="connsiteX2" fmla="*/ 38100 w 195263"/>
                <a:gd name="connsiteY2" fmla="*/ 590550 h 1223962"/>
                <a:gd name="connsiteX3" fmla="*/ 28575 w 195263"/>
                <a:gd name="connsiteY3" fmla="*/ 952500 h 1223962"/>
                <a:gd name="connsiteX4" fmla="*/ 76200 w 195263"/>
                <a:gd name="connsiteY4" fmla="*/ 1223962 h 1223962"/>
                <a:gd name="connsiteX5" fmla="*/ 195263 w 195263"/>
                <a:gd name="connsiteY5" fmla="*/ 1104900 h 1223962"/>
                <a:gd name="connsiteX6" fmla="*/ 138113 w 195263"/>
                <a:gd name="connsiteY6" fmla="*/ 733425 h 1223962"/>
                <a:gd name="connsiteX7" fmla="*/ 142875 w 195263"/>
                <a:gd name="connsiteY7" fmla="*/ 376237 h 1223962"/>
                <a:gd name="connsiteX8" fmla="*/ 128588 w 195263"/>
                <a:gd name="connsiteY8" fmla="*/ 76200 h 1223962"/>
                <a:gd name="connsiteX9" fmla="*/ 0 w 195263"/>
                <a:gd name="connsiteY9" fmla="*/ 0 h 1223962"/>
                <a:gd name="connsiteX10" fmla="*/ 9525 w 195263"/>
                <a:gd name="connsiteY10" fmla="*/ 76200 h 122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263" h="1223962">
                  <a:moveTo>
                    <a:pt x="9525" y="76200"/>
                  </a:moveTo>
                  <a:lnTo>
                    <a:pt x="100013" y="357187"/>
                  </a:lnTo>
                  <a:lnTo>
                    <a:pt x="38100" y="590550"/>
                  </a:lnTo>
                  <a:lnTo>
                    <a:pt x="28575" y="952500"/>
                  </a:lnTo>
                  <a:lnTo>
                    <a:pt x="76200" y="1223962"/>
                  </a:lnTo>
                  <a:lnTo>
                    <a:pt x="195263" y="1104900"/>
                  </a:lnTo>
                  <a:lnTo>
                    <a:pt x="138113" y="733425"/>
                  </a:lnTo>
                  <a:cubicBezTo>
                    <a:pt x="139700" y="614362"/>
                    <a:pt x="141288" y="495300"/>
                    <a:pt x="142875" y="376237"/>
                  </a:cubicBezTo>
                  <a:lnTo>
                    <a:pt x="128588" y="76200"/>
                  </a:lnTo>
                  <a:lnTo>
                    <a:pt x="0" y="0"/>
                  </a:lnTo>
                  <a:lnTo>
                    <a:pt x="9525" y="76200"/>
                  </a:lnTo>
                  <a:close/>
                </a:path>
              </a:pathLst>
            </a:custGeom>
            <a:solidFill>
              <a:srgbClr val="2325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41" name="Полилиния 40"/>
            <p:cNvSpPr/>
            <p:nvPr/>
          </p:nvSpPr>
          <p:spPr>
            <a:xfrm flipH="1">
              <a:off x="5471984" y="3580321"/>
              <a:ext cx="203479" cy="614508"/>
            </a:xfrm>
            <a:custGeom>
              <a:avLst/>
              <a:gdLst>
                <a:gd name="connsiteX0" fmla="*/ 106680 w 381000"/>
                <a:gd name="connsiteY0" fmla="*/ 0 h 1150620"/>
                <a:gd name="connsiteX1" fmla="*/ 0 w 381000"/>
                <a:gd name="connsiteY1" fmla="*/ 114300 h 1150620"/>
                <a:gd name="connsiteX2" fmla="*/ 99060 w 381000"/>
                <a:gd name="connsiteY2" fmla="*/ 228600 h 1150620"/>
                <a:gd name="connsiteX3" fmla="*/ 22860 w 381000"/>
                <a:gd name="connsiteY3" fmla="*/ 533400 h 1150620"/>
                <a:gd name="connsiteX4" fmla="*/ 7620 w 381000"/>
                <a:gd name="connsiteY4" fmla="*/ 1074420 h 1150620"/>
                <a:gd name="connsiteX5" fmla="*/ 236220 w 381000"/>
                <a:gd name="connsiteY5" fmla="*/ 1150620 h 1150620"/>
                <a:gd name="connsiteX6" fmla="*/ 381000 w 381000"/>
                <a:gd name="connsiteY6" fmla="*/ 1089660 h 1150620"/>
                <a:gd name="connsiteX7" fmla="*/ 312420 w 381000"/>
                <a:gd name="connsiteY7" fmla="*/ 502920 h 1150620"/>
                <a:gd name="connsiteX8" fmla="*/ 175260 w 381000"/>
                <a:gd name="connsiteY8" fmla="*/ 373380 h 1150620"/>
                <a:gd name="connsiteX9" fmla="*/ 205740 w 381000"/>
                <a:gd name="connsiteY9" fmla="*/ 259080 h 1150620"/>
                <a:gd name="connsiteX10" fmla="*/ 106680 w 381000"/>
                <a:gd name="connsiteY10" fmla="*/ 0 h 115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0" h="1150620">
                  <a:moveTo>
                    <a:pt x="106680" y="0"/>
                  </a:moveTo>
                  <a:lnTo>
                    <a:pt x="0" y="114300"/>
                  </a:lnTo>
                  <a:lnTo>
                    <a:pt x="99060" y="228600"/>
                  </a:lnTo>
                  <a:lnTo>
                    <a:pt x="22860" y="533400"/>
                  </a:lnTo>
                  <a:lnTo>
                    <a:pt x="7620" y="1074420"/>
                  </a:lnTo>
                  <a:lnTo>
                    <a:pt x="236220" y="1150620"/>
                  </a:lnTo>
                  <a:lnTo>
                    <a:pt x="381000" y="1089660"/>
                  </a:lnTo>
                  <a:lnTo>
                    <a:pt x="312420" y="502920"/>
                  </a:lnTo>
                  <a:lnTo>
                    <a:pt x="175260" y="373380"/>
                  </a:lnTo>
                  <a:lnTo>
                    <a:pt x="205740" y="259080"/>
                  </a:lnTo>
                  <a:lnTo>
                    <a:pt x="106680" y="0"/>
                  </a:lnTo>
                  <a:close/>
                </a:path>
              </a:pathLst>
            </a:custGeom>
            <a:solidFill>
              <a:srgbClr val="2325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42" name="Скругленный прямоугольник 41"/>
            <p:cNvSpPr/>
            <p:nvPr/>
          </p:nvSpPr>
          <p:spPr>
            <a:xfrm rot="20772607" flipH="1">
              <a:off x="5630403" y="3629834"/>
              <a:ext cx="120392" cy="389043"/>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43" name="Скругленный прямоугольник 42"/>
            <p:cNvSpPr/>
            <p:nvPr/>
          </p:nvSpPr>
          <p:spPr>
            <a:xfrm rot="3415690" flipH="1">
              <a:off x="5569223" y="3857093"/>
              <a:ext cx="120393" cy="356250"/>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44" name="Полилиния 43"/>
            <p:cNvSpPr/>
            <p:nvPr/>
          </p:nvSpPr>
          <p:spPr>
            <a:xfrm flipH="1">
              <a:off x="5460868" y="3532990"/>
              <a:ext cx="154767" cy="445191"/>
            </a:xfrm>
            <a:custGeom>
              <a:avLst/>
              <a:gdLst>
                <a:gd name="connsiteX0" fmla="*/ 0 w 292100"/>
                <a:gd name="connsiteY0" fmla="*/ 0 h 765175"/>
                <a:gd name="connsiteX1" fmla="*/ 130175 w 292100"/>
                <a:gd name="connsiteY1" fmla="*/ 285750 h 765175"/>
                <a:gd name="connsiteX2" fmla="*/ 98425 w 292100"/>
                <a:gd name="connsiteY2" fmla="*/ 390525 h 765175"/>
                <a:gd name="connsiteX3" fmla="*/ 212725 w 292100"/>
                <a:gd name="connsiteY3" fmla="*/ 488950 h 765175"/>
                <a:gd name="connsiteX4" fmla="*/ 241300 w 292100"/>
                <a:gd name="connsiteY4" fmla="*/ 765175 h 765175"/>
                <a:gd name="connsiteX5" fmla="*/ 241300 w 292100"/>
                <a:gd name="connsiteY5" fmla="*/ 476250 h 765175"/>
                <a:gd name="connsiteX6" fmla="*/ 292100 w 292100"/>
                <a:gd name="connsiteY6" fmla="*/ 311150 h 765175"/>
                <a:gd name="connsiteX7" fmla="*/ 225425 w 292100"/>
                <a:gd name="connsiteY7" fmla="*/ 34925 h 765175"/>
                <a:gd name="connsiteX8" fmla="*/ 0 w 292100"/>
                <a:gd name="connsiteY8" fmla="*/ 0 h 765175"/>
                <a:gd name="connsiteX0" fmla="*/ 0 w 287337"/>
                <a:gd name="connsiteY0" fmla="*/ 0 h 817562"/>
                <a:gd name="connsiteX1" fmla="*/ 125412 w 287337"/>
                <a:gd name="connsiteY1" fmla="*/ 338137 h 817562"/>
                <a:gd name="connsiteX2" fmla="*/ 93662 w 287337"/>
                <a:gd name="connsiteY2" fmla="*/ 442912 h 817562"/>
                <a:gd name="connsiteX3" fmla="*/ 207962 w 287337"/>
                <a:gd name="connsiteY3" fmla="*/ 541337 h 817562"/>
                <a:gd name="connsiteX4" fmla="*/ 236537 w 287337"/>
                <a:gd name="connsiteY4" fmla="*/ 817562 h 817562"/>
                <a:gd name="connsiteX5" fmla="*/ 236537 w 287337"/>
                <a:gd name="connsiteY5" fmla="*/ 528637 h 817562"/>
                <a:gd name="connsiteX6" fmla="*/ 287337 w 287337"/>
                <a:gd name="connsiteY6" fmla="*/ 363537 h 817562"/>
                <a:gd name="connsiteX7" fmla="*/ 220662 w 287337"/>
                <a:gd name="connsiteY7" fmla="*/ 87312 h 817562"/>
                <a:gd name="connsiteX8" fmla="*/ 0 w 287337"/>
                <a:gd name="connsiteY8" fmla="*/ 0 h 817562"/>
                <a:gd name="connsiteX0" fmla="*/ 0 w 287337"/>
                <a:gd name="connsiteY0" fmla="*/ 0 h 817562"/>
                <a:gd name="connsiteX1" fmla="*/ 125412 w 287337"/>
                <a:gd name="connsiteY1" fmla="*/ 338137 h 817562"/>
                <a:gd name="connsiteX2" fmla="*/ 93662 w 287337"/>
                <a:gd name="connsiteY2" fmla="*/ 442912 h 817562"/>
                <a:gd name="connsiteX3" fmla="*/ 207962 w 287337"/>
                <a:gd name="connsiteY3" fmla="*/ 541337 h 817562"/>
                <a:gd name="connsiteX4" fmla="*/ 236537 w 287337"/>
                <a:gd name="connsiteY4" fmla="*/ 817562 h 817562"/>
                <a:gd name="connsiteX5" fmla="*/ 236537 w 287337"/>
                <a:gd name="connsiteY5" fmla="*/ 528637 h 817562"/>
                <a:gd name="connsiteX6" fmla="*/ 287337 w 287337"/>
                <a:gd name="connsiteY6" fmla="*/ 363537 h 817562"/>
                <a:gd name="connsiteX7" fmla="*/ 220662 w 287337"/>
                <a:gd name="connsiteY7" fmla="*/ 87312 h 817562"/>
                <a:gd name="connsiteX8" fmla="*/ 0 w 287337"/>
                <a:gd name="connsiteY8" fmla="*/ 0 h 817562"/>
                <a:gd name="connsiteX0" fmla="*/ 3477 w 290814"/>
                <a:gd name="connsiteY0" fmla="*/ 11896 h 829458"/>
                <a:gd name="connsiteX1" fmla="*/ 128889 w 290814"/>
                <a:gd name="connsiteY1" fmla="*/ 350033 h 829458"/>
                <a:gd name="connsiteX2" fmla="*/ 97139 w 290814"/>
                <a:gd name="connsiteY2" fmla="*/ 454808 h 829458"/>
                <a:gd name="connsiteX3" fmla="*/ 211439 w 290814"/>
                <a:gd name="connsiteY3" fmla="*/ 553233 h 829458"/>
                <a:gd name="connsiteX4" fmla="*/ 240014 w 290814"/>
                <a:gd name="connsiteY4" fmla="*/ 829458 h 829458"/>
                <a:gd name="connsiteX5" fmla="*/ 240014 w 290814"/>
                <a:gd name="connsiteY5" fmla="*/ 540533 h 829458"/>
                <a:gd name="connsiteX6" fmla="*/ 290814 w 290814"/>
                <a:gd name="connsiteY6" fmla="*/ 375433 h 829458"/>
                <a:gd name="connsiteX7" fmla="*/ 224139 w 290814"/>
                <a:gd name="connsiteY7" fmla="*/ 99208 h 829458"/>
                <a:gd name="connsiteX8" fmla="*/ 52689 w 290814"/>
                <a:gd name="connsiteY8" fmla="*/ 73808 h 829458"/>
                <a:gd name="connsiteX9" fmla="*/ 3477 w 290814"/>
                <a:gd name="connsiteY9" fmla="*/ 11896 h 829458"/>
                <a:gd name="connsiteX0" fmla="*/ 2973 w 290310"/>
                <a:gd name="connsiteY0" fmla="*/ 15645 h 833207"/>
                <a:gd name="connsiteX1" fmla="*/ 128385 w 290310"/>
                <a:gd name="connsiteY1" fmla="*/ 353782 h 833207"/>
                <a:gd name="connsiteX2" fmla="*/ 96635 w 290310"/>
                <a:gd name="connsiteY2" fmla="*/ 458557 h 833207"/>
                <a:gd name="connsiteX3" fmla="*/ 210935 w 290310"/>
                <a:gd name="connsiteY3" fmla="*/ 556982 h 833207"/>
                <a:gd name="connsiteX4" fmla="*/ 239510 w 290310"/>
                <a:gd name="connsiteY4" fmla="*/ 833207 h 833207"/>
                <a:gd name="connsiteX5" fmla="*/ 239510 w 290310"/>
                <a:gd name="connsiteY5" fmla="*/ 544282 h 833207"/>
                <a:gd name="connsiteX6" fmla="*/ 290310 w 290310"/>
                <a:gd name="connsiteY6" fmla="*/ 379182 h 833207"/>
                <a:gd name="connsiteX7" fmla="*/ 223635 w 290310"/>
                <a:gd name="connsiteY7" fmla="*/ 102957 h 833207"/>
                <a:gd name="connsiteX8" fmla="*/ 52185 w 290310"/>
                <a:gd name="connsiteY8" fmla="*/ 77557 h 833207"/>
                <a:gd name="connsiteX9" fmla="*/ 2973 w 290310"/>
                <a:gd name="connsiteY9" fmla="*/ 15645 h 833207"/>
                <a:gd name="connsiteX0" fmla="*/ 2454 w 289791"/>
                <a:gd name="connsiteY0" fmla="*/ 16026 h 833588"/>
                <a:gd name="connsiteX1" fmla="*/ 127866 w 289791"/>
                <a:gd name="connsiteY1" fmla="*/ 354163 h 833588"/>
                <a:gd name="connsiteX2" fmla="*/ 96116 w 289791"/>
                <a:gd name="connsiteY2" fmla="*/ 458938 h 833588"/>
                <a:gd name="connsiteX3" fmla="*/ 210416 w 289791"/>
                <a:gd name="connsiteY3" fmla="*/ 557363 h 833588"/>
                <a:gd name="connsiteX4" fmla="*/ 238991 w 289791"/>
                <a:gd name="connsiteY4" fmla="*/ 833588 h 833588"/>
                <a:gd name="connsiteX5" fmla="*/ 238991 w 289791"/>
                <a:gd name="connsiteY5" fmla="*/ 544663 h 833588"/>
                <a:gd name="connsiteX6" fmla="*/ 289791 w 289791"/>
                <a:gd name="connsiteY6" fmla="*/ 379563 h 833588"/>
                <a:gd name="connsiteX7" fmla="*/ 223116 w 289791"/>
                <a:gd name="connsiteY7" fmla="*/ 103338 h 833588"/>
                <a:gd name="connsiteX8" fmla="*/ 61191 w 289791"/>
                <a:gd name="connsiteY8" fmla="*/ 75556 h 833588"/>
                <a:gd name="connsiteX9" fmla="*/ 2454 w 289791"/>
                <a:gd name="connsiteY9" fmla="*/ 16026 h 833588"/>
                <a:gd name="connsiteX0" fmla="*/ 2454 w 289791"/>
                <a:gd name="connsiteY0" fmla="*/ 16026 h 833588"/>
                <a:gd name="connsiteX1" fmla="*/ 127866 w 289791"/>
                <a:gd name="connsiteY1" fmla="*/ 354163 h 833588"/>
                <a:gd name="connsiteX2" fmla="*/ 96116 w 289791"/>
                <a:gd name="connsiteY2" fmla="*/ 458938 h 833588"/>
                <a:gd name="connsiteX3" fmla="*/ 210416 w 289791"/>
                <a:gd name="connsiteY3" fmla="*/ 557363 h 833588"/>
                <a:gd name="connsiteX4" fmla="*/ 238991 w 289791"/>
                <a:gd name="connsiteY4" fmla="*/ 833588 h 833588"/>
                <a:gd name="connsiteX5" fmla="*/ 238991 w 289791"/>
                <a:gd name="connsiteY5" fmla="*/ 544663 h 833588"/>
                <a:gd name="connsiteX6" fmla="*/ 289791 w 289791"/>
                <a:gd name="connsiteY6" fmla="*/ 379563 h 833588"/>
                <a:gd name="connsiteX7" fmla="*/ 232641 w 289791"/>
                <a:gd name="connsiteY7" fmla="*/ 100957 h 833588"/>
                <a:gd name="connsiteX8" fmla="*/ 61191 w 289791"/>
                <a:gd name="connsiteY8" fmla="*/ 75556 h 833588"/>
                <a:gd name="connsiteX9" fmla="*/ 2454 w 289791"/>
                <a:gd name="connsiteY9" fmla="*/ 16026 h 83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791" h="833588">
                  <a:moveTo>
                    <a:pt x="2454" y="16026"/>
                  </a:moveTo>
                  <a:lnTo>
                    <a:pt x="127866" y="354163"/>
                  </a:lnTo>
                  <a:lnTo>
                    <a:pt x="96116" y="458938"/>
                  </a:lnTo>
                  <a:lnTo>
                    <a:pt x="210416" y="557363"/>
                  </a:lnTo>
                  <a:lnTo>
                    <a:pt x="238991" y="833588"/>
                  </a:lnTo>
                  <a:lnTo>
                    <a:pt x="238991" y="544663"/>
                  </a:lnTo>
                  <a:lnTo>
                    <a:pt x="289791" y="379563"/>
                  </a:lnTo>
                  <a:lnTo>
                    <a:pt x="232641" y="100957"/>
                  </a:lnTo>
                  <a:cubicBezTo>
                    <a:pt x="192557" y="52671"/>
                    <a:pt x="97968" y="90108"/>
                    <a:pt x="61191" y="75556"/>
                  </a:cubicBezTo>
                  <a:cubicBezTo>
                    <a:pt x="31558" y="27667"/>
                    <a:pt x="-10643" y="-28027"/>
                    <a:pt x="2454" y="160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45" name="Группа 44"/>
            <p:cNvGrpSpPr/>
            <p:nvPr/>
          </p:nvGrpSpPr>
          <p:grpSpPr>
            <a:xfrm>
              <a:off x="4976771" y="4988011"/>
              <a:ext cx="579832" cy="678933"/>
              <a:chOff x="8029759" y="3923618"/>
              <a:chExt cx="815701" cy="789347"/>
            </a:xfrm>
          </p:grpSpPr>
          <p:sp>
            <p:nvSpPr>
              <p:cNvPr id="262" name="Овал 261"/>
              <p:cNvSpPr/>
              <p:nvPr/>
            </p:nvSpPr>
            <p:spPr>
              <a:xfrm>
                <a:off x="8029759" y="4198213"/>
                <a:ext cx="815701" cy="514752"/>
              </a:xfrm>
              <a:prstGeom prst="ellipse">
                <a:avLst/>
              </a:prstGeom>
              <a:solidFill>
                <a:srgbClr val="0A3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63" name="Скругленный прямоугольник 262"/>
              <p:cNvSpPr/>
              <p:nvPr/>
            </p:nvSpPr>
            <p:spPr>
              <a:xfrm>
                <a:off x="8336635" y="3923618"/>
                <a:ext cx="186693" cy="564779"/>
              </a:xfrm>
              <a:prstGeom prst="roundRect">
                <a:avLst/>
              </a:prstGeom>
              <a:solidFill>
                <a:srgbClr val="1B4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46" name="Прямоугольник 45"/>
            <p:cNvSpPr/>
            <p:nvPr/>
          </p:nvSpPr>
          <p:spPr>
            <a:xfrm rot="21141167">
              <a:off x="3858747" y="2919142"/>
              <a:ext cx="61613" cy="1193778"/>
            </a:xfrm>
            <a:prstGeom prst="rect">
              <a:avLst/>
            </a:prstGeom>
            <a:solidFill>
              <a:schemeClr val="tx2">
                <a:lumMod val="75000"/>
              </a:schemeClr>
            </a:solidFill>
            <a:ln>
              <a:noFill/>
            </a:ln>
            <a:scene3d>
              <a:camera prst="orthographicFront">
                <a:rot lat="600000" lon="8400000" rev="0"/>
              </a:camera>
              <a:lightRig rig="threePt" dir="t"/>
            </a:scene3d>
            <a:sp3d extrusionH="44450" prstMaterial="flat">
              <a:bevelT h="19050"/>
              <a:bevelB h="69850" prst="angle"/>
              <a:extrusionClr>
                <a:schemeClr val="bg1">
                  <a:lumMod val="8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750">
                <a:solidFill>
                  <a:schemeClr val="tx1"/>
                </a:solidFill>
                <a:latin typeface="+mj-lt"/>
              </a:endParaRPr>
            </a:p>
          </p:txBody>
        </p:sp>
        <p:sp>
          <p:nvSpPr>
            <p:cNvPr id="47" name="Прямоугольник 46"/>
            <p:cNvSpPr/>
            <p:nvPr/>
          </p:nvSpPr>
          <p:spPr>
            <a:xfrm>
              <a:off x="3525525" y="2842416"/>
              <a:ext cx="61613" cy="1193778"/>
            </a:xfrm>
            <a:prstGeom prst="rect">
              <a:avLst/>
            </a:prstGeom>
            <a:solidFill>
              <a:schemeClr val="tx2">
                <a:lumMod val="75000"/>
              </a:schemeClr>
            </a:solidFill>
            <a:ln>
              <a:noFill/>
            </a:ln>
            <a:scene3d>
              <a:camera prst="orthographicFront">
                <a:rot lat="600000" lon="8400000" rev="0"/>
              </a:camera>
              <a:lightRig rig="threePt" dir="t"/>
            </a:scene3d>
            <a:sp3d extrusionH="44450" prstMaterial="flat">
              <a:bevelT h="19050"/>
              <a:bevelB h="69850" prst="angle"/>
              <a:extrusionClr>
                <a:schemeClr val="bg1">
                  <a:lumMod val="8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750">
                <a:solidFill>
                  <a:schemeClr val="tx1"/>
                </a:solidFill>
                <a:latin typeface="+mj-lt"/>
              </a:endParaRPr>
            </a:p>
          </p:txBody>
        </p:sp>
        <p:sp>
          <p:nvSpPr>
            <p:cNvPr id="48" name="Прямоугольник 47"/>
            <p:cNvSpPr/>
            <p:nvPr/>
          </p:nvSpPr>
          <p:spPr>
            <a:xfrm rot="408728">
              <a:off x="3188833" y="2972417"/>
              <a:ext cx="61613" cy="1444469"/>
            </a:xfrm>
            <a:prstGeom prst="rect">
              <a:avLst/>
            </a:prstGeom>
            <a:solidFill>
              <a:schemeClr val="tx2">
                <a:lumMod val="75000"/>
              </a:schemeClr>
            </a:solidFill>
            <a:ln>
              <a:noFill/>
            </a:ln>
            <a:scene3d>
              <a:camera prst="orthographicFront">
                <a:rot lat="600000" lon="8400000" rev="0"/>
              </a:camera>
              <a:lightRig rig="threePt" dir="t"/>
            </a:scene3d>
            <a:sp3d extrusionH="44450" prstMaterial="flat">
              <a:bevelT h="19050"/>
              <a:bevelB h="69850" prst="angle"/>
              <a:extrusionClr>
                <a:schemeClr val="bg1">
                  <a:lumMod val="8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750">
                <a:solidFill>
                  <a:schemeClr val="tx1"/>
                </a:solidFill>
                <a:latin typeface="+mj-lt"/>
              </a:endParaRPr>
            </a:p>
          </p:txBody>
        </p:sp>
        <p:grpSp>
          <p:nvGrpSpPr>
            <p:cNvPr id="49" name="Группа 48"/>
            <p:cNvGrpSpPr/>
            <p:nvPr/>
          </p:nvGrpSpPr>
          <p:grpSpPr>
            <a:xfrm>
              <a:off x="3207600" y="2734790"/>
              <a:ext cx="912853" cy="1209422"/>
              <a:chOff x="3427143" y="3124754"/>
              <a:chExt cx="912856" cy="1209429"/>
            </a:xfrm>
            <a:scene3d>
              <a:camera prst="isometricRightUp"/>
              <a:lightRig rig="threePt" dir="t"/>
            </a:scene3d>
          </p:grpSpPr>
          <p:sp>
            <p:nvSpPr>
              <p:cNvPr id="253" name="Прямоугольник 252"/>
              <p:cNvSpPr/>
              <p:nvPr/>
            </p:nvSpPr>
            <p:spPr>
              <a:xfrm>
                <a:off x="3427143" y="3124754"/>
                <a:ext cx="912856" cy="1209429"/>
              </a:xfrm>
              <a:prstGeom prst="rect">
                <a:avLst/>
              </a:prstGeom>
              <a:solidFill>
                <a:schemeClr val="bg1"/>
              </a:solidFill>
              <a:ln>
                <a:noFill/>
              </a:ln>
              <a:sp3d extrusionH="44450" prstMaterial="flat">
                <a:bevelT h="19050"/>
                <a:bevelB h="69850" prst="angle"/>
                <a:extrusionClr>
                  <a:schemeClr val="bg1">
                    <a:lumMod val="85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750">
                  <a:solidFill>
                    <a:schemeClr val="tx1"/>
                  </a:solidFill>
                  <a:latin typeface="+mj-lt"/>
                </a:endParaRPr>
              </a:p>
            </p:txBody>
          </p:sp>
          <p:sp>
            <p:nvSpPr>
              <p:cNvPr id="254" name="Прямоугольник 253"/>
              <p:cNvSpPr/>
              <p:nvPr/>
            </p:nvSpPr>
            <p:spPr>
              <a:xfrm>
                <a:off x="3549706" y="3219014"/>
                <a:ext cx="122186" cy="3916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55" name="Прямоугольник 254"/>
              <p:cNvSpPr/>
              <p:nvPr/>
            </p:nvSpPr>
            <p:spPr>
              <a:xfrm>
                <a:off x="3701530" y="3315435"/>
                <a:ext cx="122186" cy="2952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56" name="Прямоугольник 255"/>
              <p:cNvSpPr/>
              <p:nvPr/>
            </p:nvSpPr>
            <p:spPr>
              <a:xfrm>
                <a:off x="3858439" y="3393665"/>
                <a:ext cx="122186" cy="21698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57" name="Прямоугольник 256"/>
              <p:cNvSpPr/>
              <p:nvPr/>
            </p:nvSpPr>
            <p:spPr>
              <a:xfrm>
                <a:off x="4015350" y="3472610"/>
                <a:ext cx="122186" cy="13540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58" name="Прямоугольник 257"/>
              <p:cNvSpPr/>
              <p:nvPr/>
            </p:nvSpPr>
            <p:spPr>
              <a:xfrm>
                <a:off x="3928710" y="3192581"/>
                <a:ext cx="334445" cy="176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59" name="Прямоугольник 258"/>
              <p:cNvSpPr/>
              <p:nvPr/>
            </p:nvSpPr>
            <p:spPr>
              <a:xfrm>
                <a:off x="3925822" y="3235258"/>
                <a:ext cx="334445" cy="176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60" name="Прямоугольник 259"/>
              <p:cNvSpPr/>
              <p:nvPr/>
            </p:nvSpPr>
            <p:spPr>
              <a:xfrm>
                <a:off x="3925817" y="3283000"/>
                <a:ext cx="334445" cy="176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61" name="Стрелка вниз 260"/>
              <p:cNvSpPr/>
              <p:nvPr/>
            </p:nvSpPr>
            <p:spPr>
              <a:xfrm rot="7529847">
                <a:off x="3812250" y="3026336"/>
                <a:ext cx="45719" cy="752991"/>
              </a:xfrm>
              <a:prstGeom prst="downArrow">
                <a:avLst>
                  <a:gd name="adj1" fmla="val 50000"/>
                  <a:gd name="adj2" fmla="val 13872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pic>
          <p:nvPicPr>
            <p:cNvPr id="50" name="Рисунок 49"/>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b="15183"/>
            <a:stretch/>
          </p:blipFill>
          <p:spPr>
            <a:xfrm>
              <a:off x="3354572" y="3290957"/>
              <a:ext cx="671952" cy="450145"/>
            </a:xfrm>
            <a:prstGeom prst="rect">
              <a:avLst/>
            </a:prstGeom>
            <a:scene3d>
              <a:camera prst="isometricRightUp"/>
              <a:lightRig rig="threePt" dir="t"/>
            </a:scene3d>
          </p:spPr>
        </p:pic>
        <p:grpSp>
          <p:nvGrpSpPr>
            <p:cNvPr id="51" name="Группа 50"/>
            <p:cNvGrpSpPr/>
            <p:nvPr/>
          </p:nvGrpSpPr>
          <p:grpSpPr>
            <a:xfrm>
              <a:off x="2472486" y="3076604"/>
              <a:ext cx="1051073" cy="1968873"/>
              <a:chOff x="2070505" y="2647168"/>
              <a:chExt cx="1051075" cy="1968869"/>
            </a:xfrm>
          </p:grpSpPr>
          <p:sp>
            <p:nvSpPr>
              <p:cNvPr id="217" name="Овал 216"/>
              <p:cNvSpPr/>
              <p:nvPr/>
            </p:nvSpPr>
            <p:spPr>
              <a:xfrm>
                <a:off x="2206584" y="4258751"/>
                <a:ext cx="635000" cy="357286"/>
              </a:xfrm>
              <a:prstGeom prst="ellipse">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218" name="Группа 217"/>
              <p:cNvGrpSpPr/>
              <p:nvPr/>
            </p:nvGrpSpPr>
            <p:grpSpPr>
              <a:xfrm>
                <a:off x="2070505" y="2647168"/>
                <a:ext cx="1051075" cy="1957097"/>
                <a:chOff x="3466237" y="2449050"/>
                <a:chExt cx="1051081" cy="1957108"/>
              </a:xfrm>
            </p:grpSpPr>
            <p:grpSp>
              <p:nvGrpSpPr>
                <p:cNvPr id="219" name="Группа 218"/>
                <p:cNvGrpSpPr/>
                <p:nvPr/>
              </p:nvGrpSpPr>
              <p:grpSpPr>
                <a:xfrm rot="10536005" flipV="1">
                  <a:off x="4333069" y="2549354"/>
                  <a:ext cx="184249" cy="196923"/>
                  <a:chOff x="4853072" y="1235953"/>
                  <a:chExt cx="270524" cy="360896"/>
                </a:xfrm>
                <a:solidFill>
                  <a:srgbClr val="FFD5C4"/>
                </a:solidFill>
              </p:grpSpPr>
              <p:sp>
                <p:nvSpPr>
                  <p:cNvPr id="247" name="Скругленный прямоугольник 246"/>
                  <p:cNvSpPr/>
                  <p:nvPr/>
                </p:nvSpPr>
                <p:spPr>
                  <a:xfrm rot="19277103">
                    <a:off x="4988482" y="1241451"/>
                    <a:ext cx="122982" cy="35539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48" name="Скругленный прямоугольник 247"/>
                  <p:cNvSpPr/>
                  <p:nvPr/>
                </p:nvSpPr>
                <p:spPr>
                  <a:xfrm rot="18885925">
                    <a:off x="4973147" y="1115878"/>
                    <a:ext cx="30374" cy="27052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49" name="Скругленный прямоугольник 248"/>
                  <p:cNvSpPr/>
                  <p:nvPr/>
                </p:nvSpPr>
                <p:spPr>
                  <a:xfrm rot="18848220">
                    <a:off x="4960606" y="1252090"/>
                    <a:ext cx="32749" cy="18477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50" name="Скругленный прямоугольник 249"/>
                  <p:cNvSpPr/>
                  <p:nvPr/>
                </p:nvSpPr>
                <p:spPr>
                  <a:xfrm rot="18848220">
                    <a:off x="4970359" y="1217936"/>
                    <a:ext cx="32749" cy="167974"/>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51" name="Скругленный прямоугольник 250"/>
                  <p:cNvSpPr/>
                  <p:nvPr/>
                </p:nvSpPr>
                <p:spPr>
                  <a:xfrm rot="18848220">
                    <a:off x="4957733" y="1298196"/>
                    <a:ext cx="32749" cy="18477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52" name="Скругленный прямоугольник 251"/>
                  <p:cNvSpPr/>
                  <p:nvPr/>
                </p:nvSpPr>
                <p:spPr>
                  <a:xfrm rot="18848220">
                    <a:off x="4973734" y="1332498"/>
                    <a:ext cx="32749" cy="18477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220" name="Полилиния 219"/>
                <p:cNvSpPr/>
                <p:nvPr/>
              </p:nvSpPr>
              <p:spPr>
                <a:xfrm>
                  <a:off x="3991208" y="2618608"/>
                  <a:ext cx="445294" cy="273653"/>
                </a:xfrm>
                <a:custGeom>
                  <a:avLst/>
                  <a:gdLst>
                    <a:gd name="connsiteX0" fmla="*/ 361950 w 445293"/>
                    <a:gd name="connsiteY0" fmla="*/ 0 h 273653"/>
                    <a:gd name="connsiteX1" fmla="*/ 445293 w 445293"/>
                    <a:gd name="connsiteY1" fmla="*/ 35719 h 273653"/>
                    <a:gd name="connsiteX2" fmla="*/ 288131 w 445293"/>
                    <a:gd name="connsiteY2" fmla="*/ 271462 h 273653"/>
                    <a:gd name="connsiteX3" fmla="*/ 54768 w 445293"/>
                    <a:gd name="connsiteY3" fmla="*/ 259556 h 273653"/>
                    <a:gd name="connsiteX4" fmla="*/ 0 w 445293"/>
                    <a:gd name="connsiteY4" fmla="*/ 128588 h 273653"/>
                    <a:gd name="connsiteX5" fmla="*/ 50006 w 445293"/>
                    <a:gd name="connsiteY5" fmla="*/ 145256 h 273653"/>
                    <a:gd name="connsiteX6" fmla="*/ 62265 w 445293"/>
                    <a:gd name="connsiteY6" fmla="*/ 146770 h 273653"/>
                    <a:gd name="connsiteX7" fmla="*/ 62621 w 445293"/>
                    <a:gd name="connsiteY7" fmla="*/ 146473 h 273653"/>
                    <a:gd name="connsiteX8" fmla="*/ 132499 w 445293"/>
                    <a:gd name="connsiteY8" fmla="*/ 130187 h 273653"/>
                    <a:gd name="connsiteX9" fmla="*/ 223555 w 445293"/>
                    <a:gd name="connsiteY9" fmla="*/ 164146 h 273653"/>
                    <a:gd name="connsiteX10" fmla="*/ 224508 w 445293"/>
                    <a:gd name="connsiteY10" fmla="*/ 166800 h 273653"/>
                    <a:gd name="connsiteX11" fmla="*/ 242887 w 445293"/>
                    <a:gd name="connsiteY11" fmla="*/ 169069 h 27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5293" h="273653">
                      <a:moveTo>
                        <a:pt x="361950" y="0"/>
                      </a:moveTo>
                      <a:lnTo>
                        <a:pt x="445293" y="35719"/>
                      </a:lnTo>
                      <a:cubicBezTo>
                        <a:pt x="392906" y="111125"/>
                        <a:pt x="350043" y="205581"/>
                        <a:pt x="288131" y="271462"/>
                      </a:cubicBezTo>
                      <a:cubicBezTo>
                        <a:pt x="212724" y="279399"/>
                        <a:pt x="132556" y="263525"/>
                        <a:pt x="54768" y="259556"/>
                      </a:cubicBezTo>
                      <a:lnTo>
                        <a:pt x="0" y="128588"/>
                      </a:lnTo>
                      <a:lnTo>
                        <a:pt x="50006" y="145256"/>
                      </a:lnTo>
                      <a:lnTo>
                        <a:pt x="62265" y="146770"/>
                      </a:lnTo>
                      <a:lnTo>
                        <a:pt x="62621" y="146473"/>
                      </a:lnTo>
                      <a:cubicBezTo>
                        <a:pt x="80505" y="136411"/>
                        <a:pt x="105210" y="130187"/>
                        <a:pt x="132499" y="130187"/>
                      </a:cubicBezTo>
                      <a:cubicBezTo>
                        <a:pt x="173433" y="130187"/>
                        <a:pt x="208553" y="144190"/>
                        <a:pt x="223555" y="164146"/>
                      </a:cubicBezTo>
                      <a:lnTo>
                        <a:pt x="224508" y="166800"/>
                      </a:lnTo>
                      <a:lnTo>
                        <a:pt x="242887" y="169069"/>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221" name="Группа 220"/>
                <p:cNvGrpSpPr/>
                <p:nvPr/>
              </p:nvGrpSpPr>
              <p:grpSpPr>
                <a:xfrm>
                  <a:off x="3712536" y="3177071"/>
                  <a:ext cx="486452" cy="1229087"/>
                  <a:chOff x="3712531" y="3177059"/>
                  <a:chExt cx="486448" cy="1229079"/>
                </a:xfrm>
              </p:grpSpPr>
              <p:sp>
                <p:nvSpPr>
                  <p:cNvPr id="240" name="Полилиния 239"/>
                  <p:cNvSpPr/>
                  <p:nvPr/>
                </p:nvSpPr>
                <p:spPr>
                  <a:xfrm>
                    <a:off x="3887055" y="4071931"/>
                    <a:ext cx="304800" cy="97631"/>
                  </a:xfrm>
                  <a:custGeom>
                    <a:avLst/>
                    <a:gdLst>
                      <a:gd name="connsiteX0" fmla="*/ 0 w 304800"/>
                      <a:gd name="connsiteY0" fmla="*/ 0 h 76200"/>
                      <a:gd name="connsiteX1" fmla="*/ 9525 w 304800"/>
                      <a:gd name="connsiteY1" fmla="*/ 61913 h 76200"/>
                      <a:gd name="connsiteX2" fmla="*/ 90487 w 304800"/>
                      <a:gd name="connsiteY2" fmla="*/ 61913 h 76200"/>
                      <a:gd name="connsiteX3" fmla="*/ 80962 w 304800"/>
                      <a:gd name="connsiteY3" fmla="*/ 23813 h 76200"/>
                      <a:gd name="connsiteX4" fmla="*/ 247650 w 304800"/>
                      <a:gd name="connsiteY4" fmla="*/ 76200 h 76200"/>
                      <a:gd name="connsiteX5" fmla="*/ 304800 w 304800"/>
                      <a:gd name="connsiteY5" fmla="*/ 59531 h 76200"/>
                      <a:gd name="connsiteX6" fmla="*/ 0 w 304800"/>
                      <a:gd name="connsiteY6" fmla="*/ 0 h 76200"/>
                      <a:gd name="connsiteX0" fmla="*/ 0 w 304800"/>
                      <a:gd name="connsiteY0" fmla="*/ 0 h 97631"/>
                      <a:gd name="connsiteX1" fmla="*/ 9525 w 304800"/>
                      <a:gd name="connsiteY1" fmla="*/ 61913 h 97631"/>
                      <a:gd name="connsiteX2" fmla="*/ 90487 w 304800"/>
                      <a:gd name="connsiteY2" fmla="*/ 61913 h 97631"/>
                      <a:gd name="connsiteX3" fmla="*/ 80962 w 304800"/>
                      <a:gd name="connsiteY3" fmla="*/ 23813 h 97631"/>
                      <a:gd name="connsiteX4" fmla="*/ 271462 w 304800"/>
                      <a:gd name="connsiteY4" fmla="*/ 97631 h 97631"/>
                      <a:gd name="connsiteX5" fmla="*/ 304800 w 304800"/>
                      <a:gd name="connsiteY5" fmla="*/ 59531 h 97631"/>
                      <a:gd name="connsiteX6" fmla="*/ 0 w 304800"/>
                      <a:gd name="connsiteY6" fmla="*/ 0 h 97631"/>
                      <a:gd name="connsiteX0" fmla="*/ 0 w 304800"/>
                      <a:gd name="connsiteY0" fmla="*/ 0 h 97631"/>
                      <a:gd name="connsiteX1" fmla="*/ 9525 w 304800"/>
                      <a:gd name="connsiteY1" fmla="*/ 61913 h 97631"/>
                      <a:gd name="connsiteX2" fmla="*/ 90487 w 304800"/>
                      <a:gd name="connsiteY2" fmla="*/ 61913 h 97631"/>
                      <a:gd name="connsiteX3" fmla="*/ 80962 w 304800"/>
                      <a:gd name="connsiteY3" fmla="*/ 23813 h 97631"/>
                      <a:gd name="connsiteX4" fmla="*/ 137258 w 304800"/>
                      <a:gd name="connsiteY4" fmla="*/ 52386 h 97631"/>
                      <a:gd name="connsiteX5" fmla="*/ 271462 w 304800"/>
                      <a:gd name="connsiteY5" fmla="*/ 97631 h 97631"/>
                      <a:gd name="connsiteX6" fmla="*/ 304800 w 304800"/>
                      <a:gd name="connsiteY6" fmla="*/ 59531 h 97631"/>
                      <a:gd name="connsiteX7" fmla="*/ 0 w 304800"/>
                      <a:gd name="connsiteY7" fmla="*/ 0 h 97631"/>
                      <a:gd name="connsiteX0" fmla="*/ 0 w 304800"/>
                      <a:gd name="connsiteY0" fmla="*/ 0 h 97631"/>
                      <a:gd name="connsiteX1" fmla="*/ 9525 w 304800"/>
                      <a:gd name="connsiteY1" fmla="*/ 61913 h 97631"/>
                      <a:gd name="connsiteX2" fmla="*/ 90487 w 304800"/>
                      <a:gd name="connsiteY2" fmla="*/ 61913 h 97631"/>
                      <a:gd name="connsiteX3" fmla="*/ 71437 w 304800"/>
                      <a:gd name="connsiteY3" fmla="*/ 33338 h 97631"/>
                      <a:gd name="connsiteX4" fmla="*/ 137258 w 304800"/>
                      <a:gd name="connsiteY4" fmla="*/ 52386 h 97631"/>
                      <a:gd name="connsiteX5" fmla="*/ 271462 w 304800"/>
                      <a:gd name="connsiteY5" fmla="*/ 97631 h 97631"/>
                      <a:gd name="connsiteX6" fmla="*/ 304800 w 304800"/>
                      <a:gd name="connsiteY6" fmla="*/ 59531 h 97631"/>
                      <a:gd name="connsiteX7" fmla="*/ 0 w 304800"/>
                      <a:gd name="connsiteY7" fmla="*/ 0 h 97631"/>
                      <a:gd name="connsiteX0" fmla="*/ 0 w 304800"/>
                      <a:gd name="connsiteY0" fmla="*/ 0 h 97631"/>
                      <a:gd name="connsiteX1" fmla="*/ 9525 w 304800"/>
                      <a:gd name="connsiteY1" fmla="*/ 61913 h 97631"/>
                      <a:gd name="connsiteX2" fmla="*/ 90487 w 304800"/>
                      <a:gd name="connsiteY2" fmla="*/ 61913 h 97631"/>
                      <a:gd name="connsiteX3" fmla="*/ 71437 w 304800"/>
                      <a:gd name="connsiteY3" fmla="*/ 38101 h 97631"/>
                      <a:gd name="connsiteX4" fmla="*/ 137258 w 304800"/>
                      <a:gd name="connsiteY4" fmla="*/ 52386 h 97631"/>
                      <a:gd name="connsiteX5" fmla="*/ 271462 w 304800"/>
                      <a:gd name="connsiteY5" fmla="*/ 97631 h 97631"/>
                      <a:gd name="connsiteX6" fmla="*/ 304800 w 304800"/>
                      <a:gd name="connsiteY6" fmla="*/ 59531 h 97631"/>
                      <a:gd name="connsiteX7" fmla="*/ 0 w 304800"/>
                      <a:gd name="connsiteY7" fmla="*/ 0 h 97631"/>
                      <a:gd name="connsiteX0" fmla="*/ 0 w 304800"/>
                      <a:gd name="connsiteY0" fmla="*/ 0 h 97631"/>
                      <a:gd name="connsiteX1" fmla="*/ 9525 w 304800"/>
                      <a:gd name="connsiteY1" fmla="*/ 61913 h 97631"/>
                      <a:gd name="connsiteX2" fmla="*/ 66675 w 304800"/>
                      <a:gd name="connsiteY2" fmla="*/ 61913 h 97631"/>
                      <a:gd name="connsiteX3" fmla="*/ 71437 w 304800"/>
                      <a:gd name="connsiteY3" fmla="*/ 38101 h 97631"/>
                      <a:gd name="connsiteX4" fmla="*/ 137258 w 304800"/>
                      <a:gd name="connsiteY4" fmla="*/ 52386 h 97631"/>
                      <a:gd name="connsiteX5" fmla="*/ 271462 w 304800"/>
                      <a:gd name="connsiteY5" fmla="*/ 97631 h 97631"/>
                      <a:gd name="connsiteX6" fmla="*/ 304800 w 304800"/>
                      <a:gd name="connsiteY6" fmla="*/ 59531 h 97631"/>
                      <a:gd name="connsiteX7" fmla="*/ 0 w 304800"/>
                      <a:gd name="connsiteY7" fmla="*/ 0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97631">
                        <a:moveTo>
                          <a:pt x="0" y="0"/>
                        </a:moveTo>
                        <a:lnTo>
                          <a:pt x="9525" y="61913"/>
                        </a:lnTo>
                        <a:lnTo>
                          <a:pt x="66675" y="61913"/>
                        </a:lnTo>
                        <a:lnTo>
                          <a:pt x="71437" y="38101"/>
                        </a:lnTo>
                        <a:cubicBezTo>
                          <a:pt x="90996" y="46038"/>
                          <a:pt x="117699" y="44449"/>
                          <a:pt x="137258" y="52386"/>
                        </a:cubicBezTo>
                        <a:lnTo>
                          <a:pt x="271462" y="97631"/>
                        </a:lnTo>
                        <a:lnTo>
                          <a:pt x="304800" y="59531"/>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241" name="Группа 240"/>
                  <p:cNvGrpSpPr/>
                  <p:nvPr/>
                </p:nvGrpSpPr>
                <p:grpSpPr>
                  <a:xfrm rot="503087">
                    <a:off x="3712531" y="4152227"/>
                    <a:ext cx="172800" cy="253911"/>
                    <a:chOff x="3076686" y="3927504"/>
                    <a:chExt cx="855881" cy="1094804"/>
                  </a:xfrm>
                </p:grpSpPr>
                <p:sp>
                  <p:nvSpPr>
                    <p:cNvPr id="245" name="Овал 244"/>
                    <p:cNvSpPr/>
                    <p:nvPr/>
                  </p:nvSpPr>
                  <p:spPr>
                    <a:xfrm rot="19725667">
                      <a:off x="3317777" y="4613076"/>
                      <a:ext cx="614790" cy="40923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46" name="Полилиния 245"/>
                    <p:cNvSpPr/>
                    <p:nvPr/>
                  </p:nvSpPr>
                  <p:spPr>
                    <a:xfrm rot="19725667">
                      <a:off x="3076686" y="3927504"/>
                      <a:ext cx="676279" cy="1089453"/>
                    </a:xfrm>
                    <a:custGeom>
                      <a:avLst/>
                      <a:gdLst>
                        <a:gd name="connsiteX0" fmla="*/ 659273 w 676274"/>
                        <a:gd name="connsiteY0" fmla="*/ 0 h 1089454"/>
                        <a:gd name="connsiteX1" fmla="*/ 673244 w 676274"/>
                        <a:gd name="connsiteY1" fmla="*/ 866646 h 1089454"/>
                        <a:gd name="connsiteX2" fmla="*/ 676274 w 676274"/>
                        <a:gd name="connsiteY2" fmla="*/ 884836 h 1089454"/>
                        <a:gd name="connsiteX3" fmla="*/ 338137 w 676274"/>
                        <a:gd name="connsiteY3" fmla="*/ 1089454 h 1089454"/>
                        <a:gd name="connsiteX4" fmla="*/ 0 w 676274"/>
                        <a:gd name="connsiteY4" fmla="*/ 884836 h 1089454"/>
                        <a:gd name="connsiteX5" fmla="*/ 26572 w 676274"/>
                        <a:gd name="connsiteY5" fmla="*/ 805190 h 1089454"/>
                        <a:gd name="connsiteX6" fmla="*/ 28049 w 676274"/>
                        <a:gd name="connsiteY6" fmla="*/ 803544 h 1089454"/>
                        <a:gd name="connsiteX7" fmla="*/ 308921 w 676274"/>
                        <a:gd name="connsiteY7" fmla="*/ 14998 h 108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4" h="1089454">
                          <a:moveTo>
                            <a:pt x="659273" y="0"/>
                          </a:moveTo>
                          <a:lnTo>
                            <a:pt x="673244" y="866646"/>
                          </a:lnTo>
                          <a:lnTo>
                            <a:pt x="676274" y="884836"/>
                          </a:lnTo>
                          <a:cubicBezTo>
                            <a:pt x="676274" y="997843"/>
                            <a:pt x="524885" y="1089454"/>
                            <a:pt x="338137" y="1089454"/>
                          </a:cubicBezTo>
                          <a:cubicBezTo>
                            <a:pt x="151389" y="1089454"/>
                            <a:pt x="0" y="997843"/>
                            <a:pt x="0" y="884836"/>
                          </a:cubicBezTo>
                          <a:cubicBezTo>
                            <a:pt x="0" y="856585"/>
                            <a:pt x="9462" y="829670"/>
                            <a:pt x="26572" y="805190"/>
                          </a:cubicBezTo>
                          <a:lnTo>
                            <a:pt x="28049" y="803544"/>
                          </a:lnTo>
                          <a:lnTo>
                            <a:pt x="308921" y="14998"/>
                          </a:lnTo>
                          <a:close/>
                        </a:path>
                      </a:pathLst>
                    </a:custGeom>
                    <a:solidFill>
                      <a:srgbClr val="9D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242" name="Полилиния 241"/>
                  <p:cNvSpPr/>
                  <p:nvPr/>
                </p:nvSpPr>
                <p:spPr>
                  <a:xfrm>
                    <a:off x="3872141" y="3177059"/>
                    <a:ext cx="252412" cy="895349"/>
                  </a:xfrm>
                  <a:custGeom>
                    <a:avLst/>
                    <a:gdLst>
                      <a:gd name="connsiteX0" fmla="*/ 0 w 228600"/>
                      <a:gd name="connsiteY0" fmla="*/ 576262 h 862012"/>
                      <a:gd name="connsiteX1" fmla="*/ 19050 w 228600"/>
                      <a:gd name="connsiteY1" fmla="*/ 862012 h 862012"/>
                      <a:gd name="connsiteX2" fmla="*/ 176212 w 228600"/>
                      <a:gd name="connsiteY2" fmla="*/ 838200 h 862012"/>
                      <a:gd name="connsiteX3" fmla="*/ 161925 w 228600"/>
                      <a:gd name="connsiteY3" fmla="*/ 519112 h 862012"/>
                      <a:gd name="connsiteX4" fmla="*/ 228600 w 228600"/>
                      <a:gd name="connsiteY4" fmla="*/ 247650 h 862012"/>
                      <a:gd name="connsiteX5" fmla="*/ 180975 w 228600"/>
                      <a:gd name="connsiteY5" fmla="*/ 0 h 862012"/>
                      <a:gd name="connsiteX6" fmla="*/ 95250 w 228600"/>
                      <a:gd name="connsiteY6" fmla="*/ 147637 h 862012"/>
                      <a:gd name="connsiteX7" fmla="*/ 0 w 228600"/>
                      <a:gd name="connsiteY7" fmla="*/ 576262 h 862012"/>
                      <a:gd name="connsiteX0" fmla="*/ 0 w 233136"/>
                      <a:gd name="connsiteY0" fmla="*/ 576262 h 862012"/>
                      <a:gd name="connsiteX1" fmla="*/ 19050 w 233136"/>
                      <a:gd name="connsiteY1" fmla="*/ 862012 h 862012"/>
                      <a:gd name="connsiteX2" fmla="*/ 176212 w 233136"/>
                      <a:gd name="connsiteY2" fmla="*/ 838200 h 862012"/>
                      <a:gd name="connsiteX3" fmla="*/ 161925 w 233136"/>
                      <a:gd name="connsiteY3" fmla="*/ 519112 h 862012"/>
                      <a:gd name="connsiteX4" fmla="*/ 233136 w 233136"/>
                      <a:gd name="connsiteY4" fmla="*/ 388144 h 862012"/>
                      <a:gd name="connsiteX5" fmla="*/ 228600 w 233136"/>
                      <a:gd name="connsiteY5" fmla="*/ 247650 h 862012"/>
                      <a:gd name="connsiteX6" fmla="*/ 180975 w 233136"/>
                      <a:gd name="connsiteY6" fmla="*/ 0 h 862012"/>
                      <a:gd name="connsiteX7" fmla="*/ 95250 w 233136"/>
                      <a:gd name="connsiteY7" fmla="*/ 147637 h 862012"/>
                      <a:gd name="connsiteX8" fmla="*/ 0 w 233136"/>
                      <a:gd name="connsiteY8" fmla="*/ 576262 h 862012"/>
                      <a:gd name="connsiteX0" fmla="*/ 0 w 261938"/>
                      <a:gd name="connsiteY0" fmla="*/ 576262 h 862012"/>
                      <a:gd name="connsiteX1" fmla="*/ 19050 w 261938"/>
                      <a:gd name="connsiteY1" fmla="*/ 862012 h 862012"/>
                      <a:gd name="connsiteX2" fmla="*/ 176212 w 261938"/>
                      <a:gd name="connsiteY2" fmla="*/ 838200 h 862012"/>
                      <a:gd name="connsiteX3" fmla="*/ 161925 w 261938"/>
                      <a:gd name="connsiteY3" fmla="*/ 519112 h 862012"/>
                      <a:gd name="connsiteX4" fmla="*/ 233136 w 261938"/>
                      <a:gd name="connsiteY4" fmla="*/ 388144 h 862012"/>
                      <a:gd name="connsiteX5" fmla="*/ 261938 w 261938"/>
                      <a:gd name="connsiteY5" fmla="*/ 214313 h 862012"/>
                      <a:gd name="connsiteX6" fmla="*/ 180975 w 261938"/>
                      <a:gd name="connsiteY6" fmla="*/ 0 h 862012"/>
                      <a:gd name="connsiteX7" fmla="*/ 95250 w 261938"/>
                      <a:gd name="connsiteY7" fmla="*/ 147637 h 862012"/>
                      <a:gd name="connsiteX8" fmla="*/ 0 w 261938"/>
                      <a:gd name="connsiteY8" fmla="*/ 576262 h 862012"/>
                      <a:gd name="connsiteX0" fmla="*/ 0 w 261938"/>
                      <a:gd name="connsiteY0" fmla="*/ 576262 h 862012"/>
                      <a:gd name="connsiteX1" fmla="*/ 19050 w 261938"/>
                      <a:gd name="connsiteY1" fmla="*/ 862012 h 862012"/>
                      <a:gd name="connsiteX2" fmla="*/ 176212 w 261938"/>
                      <a:gd name="connsiteY2" fmla="*/ 838200 h 862012"/>
                      <a:gd name="connsiteX3" fmla="*/ 190500 w 261938"/>
                      <a:gd name="connsiteY3" fmla="*/ 519112 h 862012"/>
                      <a:gd name="connsiteX4" fmla="*/ 233136 w 261938"/>
                      <a:gd name="connsiteY4" fmla="*/ 388144 h 862012"/>
                      <a:gd name="connsiteX5" fmla="*/ 261938 w 261938"/>
                      <a:gd name="connsiteY5" fmla="*/ 214313 h 862012"/>
                      <a:gd name="connsiteX6" fmla="*/ 180975 w 261938"/>
                      <a:gd name="connsiteY6" fmla="*/ 0 h 862012"/>
                      <a:gd name="connsiteX7" fmla="*/ 95250 w 261938"/>
                      <a:gd name="connsiteY7" fmla="*/ 147637 h 862012"/>
                      <a:gd name="connsiteX8" fmla="*/ 0 w 261938"/>
                      <a:gd name="connsiteY8" fmla="*/ 576262 h 862012"/>
                      <a:gd name="connsiteX0" fmla="*/ 0 w 261938"/>
                      <a:gd name="connsiteY0" fmla="*/ 576262 h 862012"/>
                      <a:gd name="connsiteX1" fmla="*/ 19050 w 261938"/>
                      <a:gd name="connsiteY1" fmla="*/ 862012 h 862012"/>
                      <a:gd name="connsiteX2" fmla="*/ 176212 w 261938"/>
                      <a:gd name="connsiteY2" fmla="*/ 838200 h 862012"/>
                      <a:gd name="connsiteX3" fmla="*/ 190500 w 261938"/>
                      <a:gd name="connsiteY3" fmla="*/ 519112 h 862012"/>
                      <a:gd name="connsiteX4" fmla="*/ 233136 w 261938"/>
                      <a:gd name="connsiteY4" fmla="*/ 388144 h 862012"/>
                      <a:gd name="connsiteX5" fmla="*/ 261938 w 261938"/>
                      <a:gd name="connsiteY5" fmla="*/ 214313 h 862012"/>
                      <a:gd name="connsiteX6" fmla="*/ 180975 w 261938"/>
                      <a:gd name="connsiteY6" fmla="*/ 0 h 862012"/>
                      <a:gd name="connsiteX7" fmla="*/ 95250 w 261938"/>
                      <a:gd name="connsiteY7" fmla="*/ 147637 h 862012"/>
                      <a:gd name="connsiteX8" fmla="*/ 0 w 261938"/>
                      <a:gd name="connsiteY8" fmla="*/ 576262 h 862012"/>
                      <a:gd name="connsiteX0" fmla="*/ 0 w 261938"/>
                      <a:gd name="connsiteY0" fmla="*/ 609600 h 895350"/>
                      <a:gd name="connsiteX1" fmla="*/ 19050 w 261938"/>
                      <a:gd name="connsiteY1" fmla="*/ 895350 h 895350"/>
                      <a:gd name="connsiteX2" fmla="*/ 176212 w 261938"/>
                      <a:gd name="connsiteY2" fmla="*/ 871538 h 895350"/>
                      <a:gd name="connsiteX3" fmla="*/ 190500 w 261938"/>
                      <a:gd name="connsiteY3" fmla="*/ 552450 h 895350"/>
                      <a:gd name="connsiteX4" fmla="*/ 233136 w 261938"/>
                      <a:gd name="connsiteY4" fmla="*/ 421482 h 895350"/>
                      <a:gd name="connsiteX5" fmla="*/ 261938 w 261938"/>
                      <a:gd name="connsiteY5" fmla="*/ 247651 h 895350"/>
                      <a:gd name="connsiteX6" fmla="*/ 195262 w 261938"/>
                      <a:gd name="connsiteY6" fmla="*/ 0 h 895350"/>
                      <a:gd name="connsiteX7" fmla="*/ 95250 w 261938"/>
                      <a:gd name="connsiteY7" fmla="*/ 180975 h 895350"/>
                      <a:gd name="connsiteX8" fmla="*/ 0 w 261938"/>
                      <a:gd name="connsiteY8" fmla="*/ 609600 h 895350"/>
                      <a:gd name="connsiteX0" fmla="*/ 0 w 252413"/>
                      <a:gd name="connsiteY0" fmla="*/ 609600 h 895350"/>
                      <a:gd name="connsiteX1" fmla="*/ 19050 w 252413"/>
                      <a:gd name="connsiteY1" fmla="*/ 895350 h 895350"/>
                      <a:gd name="connsiteX2" fmla="*/ 176212 w 252413"/>
                      <a:gd name="connsiteY2" fmla="*/ 871538 h 895350"/>
                      <a:gd name="connsiteX3" fmla="*/ 190500 w 252413"/>
                      <a:gd name="connsiteY3" fmla="*/ 552450 h 895350"/>
                      <a:gd name="connsiteX4" fmla="*/ 233136 w 252413"/>
                      <a:gd name="connsiteY4" fmla="*/ 421482 h 895350"/>
                      <a:gd name="connsiteX5" fmla="*/ 252413 w 252413"/>
                      <a:gd name="connsiteY5" fmla="*/ 247651 h 895350"/>
                      <a:gd name="connsiteX6" fmla="*/ 195262 w 252413"/>
                      <a:gd name="connsiteY6" fmla="*/ 0 h 895350"/>
                      <a:gd name="connsiteX7" fmla="*/ 95250 w 252413"/>
                      <a:gd name="connsiteY7" fmla="*/ 180975 h 895350"/>
                      <a:gd name="connsiteX8" fmla="*/ 0 w 252413"/>
                      <a:gd name="connsiteY8" fmla="*/ 60960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13" h="895350">
                        <a:moveTo>
                          <a:pt x="0" y="609600"/>
                        </a:moveTo>
                        <a:lnTo>
                          <a:pt x="19050" y="895350"/>
                        </a:lnTo>
                        <a:lnTo>
                          <a:pt x="176212" y="871538"/>
                        </a:lnTo>
                        <a:lnTo>
                          <a:pt x="190500" y="552450"/>
                        </a:lnTo>
                        <a:cubicBezTo>
                          <a:pt x="203125" y="511969"/>
                          <a:pt x="220511" y="461963"/>
                          <a:pt x="233136" y="421482"/>
                        </a:cubicBezTo>
                        <a:lnTo>
                          <a:pt x="252413" y="247651"/>
                        </a:lnTo>
                        <a:lnTo>
                          <a:pt x="195262" y="0"/>
                        </a:lnTo>
                        <a:lnTo>
                          <a:pt x="95250" y="180975"/>
                        </a:lnTo>
                        <a:lnTo>
                          <a:pt x="0" y="609600"/>
                        </a:lnTo>
                        <a:close/>
                      </a:path>
                    </a:pathLst>
                  </a:custGeom>
                  <a:solidFill>
                    <a:srgbClr val="403B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43" name="Полилиния 242"/>
                  <p:cNvSpPr/>
                  <p:nvPr/>
                </p:nvSpPr>
                <p:spPr>
                  <a:xfrm>
                    <a:off x="3719744" y="3262309"/>
                    <a:ext cx="266700" cy="995360"/>
                  </a:xfrm>
                  <a:custGeom>
                    <a:avLst/>
                    <a:gdLst>
                      <a:gd name="connsiteX0" fmla="*/ 52388 w 261938"/>
                      <a:gd name="connsiteY0" fmla="*/ 0 h 995362"/>
                      <a:gd name="connsiteX1" fmla="*/ 28575 w 261938"/>
                      <a:gd name="connsiteY1" fmla="*/ 519112 h 995362"/>
                      <a:gd name="connsiteX2" fmla="*/ 0 w 261938"/>
                      <a:gd name="connsiteY2" fmla="*/ 995362 h 995362"/>
                      <a:gd name="connsiteX3" fmla="*/ 114300 w 261938"/>
                      <a:gd name="connsiteY3" fmla="*/ 966787 h 995362"/>
                      <a:gd name="connsiteX4" fmla="*/ 128588 w 261938"/>
                      <a:gd name="connsiteY4" fmla="*/ 600075 h 995362"/>
                      <a:gd name="connsiteX5" fmla="*/ 252413 w 261938"/>
                      <a:gd name="connsiteY5" fmla="*/ 266700 h 995362"/>
                      <a:gd name="connsiteX6" fmla="*/ 261938 w 261938"/>
                      <a:gd name="connsiteY6" fmla="*/ 42862 h 995362"/>
                      <a:gd name="connsiteX7" fmla="*/ 52388 w 261938"/>
                      <a:gd name="connsiteY7" fmla="*/ 0 h 995362"/>
                      <a:gd name="connsiteX0" fmla="*/ 52388 w 261938"/>
                      <a:gd name="connsiteY0" fmla="*/ 0 h 995362"/>
                      <a:gd name="connsiteX1" fmla="*/ 14288 w 261938"/>
                      <a:gd name="connsiteY1" fmla="*/ 271462 h 995362"/>
                      <a:gd name="connsiteX2" fmla="*/ 28575 w 261938"/>
                      <a:gd name="connsiteY2" fmla="*/ 519112 h 995362"/>
                      <a:gd name="connsiteX3" fmla="*/ 0 w 261938"/>
                      <a:gd name="connsiteY3" fmla="*/ 995362 h 995362"/>
                      <a:gd name="connsiteX4" fmla="*/ 114300 w 261938"/>
                      <a:gd name="connsiteY4" fmla="*/ 966787 h 995362"/>
                      <a:gd name="connsiteX5" fmla="*/ 128588 w 261938"/>
                      <a:gd name="connsiteY5" fmla="*/ 600075 h 995362"/>
                      <a:gd name="connsiteX6" fmla="*/ 252413 w 261938"/>
                      <a:gd name="connsiteY6" fmla="*/ 266700 h 995362"/>
                      <a:gd name="connsiteX7" fmla="*/ 261938 w 261938"/>
                      <a:gd name="connsiteY7" fmla="*/ 42862 h 995362"/>
                      <a:gd name="connsiteX8" fmla="*/ 52388 w 261938"/>
                      <a:gd name="connsiteY8" fmla="*/ 0 h 995362"/>
                      <a:gd name="connsiteX0" fmla="*/ 57150 w 266700"/>
                      <a:gd name="connsiteY0" fmla="*/ 0 h 995362"/>
                      <a:gd name="connsiteX1" fmla="*/ 19050 w 266700"/>
                      <a:gd name="connsiteY1" fmla="*/ 271462 h 995362"/>
                      <a:gd name="connsiteX2" fmla="*/ 33337 w 266700"/>
                      <a:gd name="connsiteY2" fmla="*/ 519112 h 995362"/>
                      <a:gd name="connsiteX3" fmla="*/ 0 w 266700"/>
                      <a:gd name="connsiteY3" fmla="*/ 657225 h 995362"/>
                      <a:gd name="connsiteX4" fmla="*/ 4762 w 266700"/>
                      <a:gd name="connsiteY4" fmla="*/ 995362 h 995362"/>
                      <a:gd name="connsiteX5" fmla="*/ 119062 w 266700"/>
                      <a:gd name="connsiteY5" fmla="*/ 966787 h 995362"/>
                      <a:gd name="connsiteX6" fmla="*/ 133350 w 266700"/>
                      <a:gd name="connsiteY6" fmla="*/ 600075 h 995362"/>
                      <a:gd name="connsiteX7" fmla="*/ 257175 w 266700"/>
                      <a:gd name="connsiteY7" fmla="*/ 266700 h 995362"/>
                      <a:gd name="connsiteX8" fmla="*/ 266700 w 266700"/>
                      <a:gd name="connsiteY8" fmla="*/ 42862 h 995362"/>
                      <a:gd name="connsiteX9" fmla="*/ 57150 w 266700"/>
                      <a:gd name="connsiteY9" fmla="*/ 0 h 995362"/>
                      <a:gd name="connsiteX0" fmla="*/ 57150 w 266700"/>
                      <a:gd name="connsiteY0" fmla="*/ 0 h 995362"/>
                      <a:gd name="connsiteX1" fmla="*/ 19050 w 266700"/>
                      <a:gd name="connsiteY1" fmla="*/ 271462 h 995362"/>
                      <a:gd name="connsiteX2" fmla="*/ 33337 w 266700"/>
                      <a:gd name="connsiteY2" fmla="*/ 519112 h 995362"/>
                      <a:gd name="connsiteX3" fmla="*/ 0 w 266700"/>
                      <a:gd name="connsiteY3" fmla="*/ 657225 h 995362"/>
                      <a:gd name="connsiteX4" fmla="*/ 4762 w 266700"/>
                      <a:gd name="connsiteY4" fmla="*/ 995362 h 995362"/>
                      <a:gd name="connsiteX5" fmla="*/ 119062 w 266700"/>
                      <a:gd name="connsiteY5" fmla="*/ 966787 h 995362"/>
                      <a:gd name="connsiteX6" fmla="*/ 133350 w 266700"/>
                      <a:gd name="connsiteY6" fmla="*/ 600075 h 995362"/>
                      <a:gd name="connsiteX7" fmla="*/ 238125 w 266700"/>
                      <a:gd name="connsiteY7" fmla="*/ 266700 h 995362"/>
                      <a:gd name="connsiteX8" fmla="*/ 266700 w 266700"/>
                      <a:gd name="connsiteY8" fmla="*/ 42862 h 995362"/>
                      <a:gd name="connsiteX9" fmla="*/ 57150 w 266700"/>
                      <a:gd name="connsiteY9" fmla="*/ 0 h 995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700" h="995362">
                        <a:moveTo>
                          <a:pt x="57150" y="0"/>
                        </a:moveTo>
                        <a:cubicBezTo>
                          <a:pt x="53975" y="90487"/>
                          <a:pt x="22225" y="180975"/>
                          <a:pt x="19050" y="271462"/>
                        </a:cubicBezTo>
                        <a:lnTo>
                          <a:pt x="33337" y="519112"/>
                        </a:lnTo>
                        <a:cubicBezTo>
                          <a:pt x="30162" y="565150"/>
                          <a:pt x="3175" y="611187"/>
                          <a:pt x="0" y="657225"/>
                        </a:cubicBezTo>
                        <a:cubicBezTo>
                          <a:pt x="1587" y="769937"/>
                          <a:pt x="3175" y="882650"/>
                          <a:pt x="4762" y="995362"/>
                        </a:cubicBezTo>
                        <a:lnTo>
                          <a:pt x="119062" y="966787"/>
                        </a:lnTo>
                        <a:lnTo>
                          <a:pt x="133350" y="600075"/>
                        </a:lnTo>
                        <a:lnTo>
                          <a:pt x="238125" y="266700"/>
                        </a:lnTo>
                        <a:lnTo>
                          <a:pt x="266700" y="42862"/>
                        </a:lnTo>
                        <a:lnTo>
                          <a:pt x="57150" y="0"/>
                        </a:lnTo>
                        <a:close/>
                      </a:path>
                    </a:pathLst>
                  </a:cu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44" name="Полилиния 243"/>
                  <p:cNvSpPr/>
                  <p:nvPr/>
                </p:nvSpPr>
                <p:spPr>
                  <a:xfrm>
                    <a:off x="3887035" y="4036220"/>
                    <a:ext cx="311944" cy="121443"/>
                  </a:xfrm>
                  <a:custGeom>
                    <a:avLst/>
                    <a:gdLst>
                      <a:gd name="connsiteX0" fmla="*/ 154781 w 311943"/>
                      <a:gd name="connsiteY0" fmla="*/ 0 h 121443"/>
                      <a:gd name="connsiteX1" fmla="*/ 269238 w 311943"/>
                      <a:gd name="connsiteY1" fmla="*/ 38151 h 121443"/>
                      <a:gd name="connsiteX2" fmla="*/ 272234 w 311943"/>
                      <a:gd name="connsiteY2" fmla="*/ 36829 h 121443"/>
                      <a:gd name="connsiteX3" fmla="*/ 293731 w 311943"/>
                      <a:gd name="connsiteY3" fmla="*/ 46316 h 121443"/>
                      <a:gd name="connsiteX4" fmla="*/ 297656 w 311943"/>
                      <a:gd name="connsiteY4" fmla="*/ 47624 h 121443"/>
                      <a:gd name="connsiteX5" fmla="*/ 297682 w 311943"/>
                      <a:gd name="connsiteY5" fmla="*/ 48059 h 121443"/>
                      <a:gd name="connsiteX6" fmla="*/ 300313 w 311943"/>
                      <a:gd name="connsiteY6" fmla="*/ 49220 h 121443"/>
                      <a:gd name="connsiteX7" fmla="*/ 311943 w 311943"/>
                      <a:gd name="connsiteY7" fmla="*/ 79136 h 121443"/>
                      <a:gd name="connsiteX8" fmla="*/ 272234 w 311943"/>
                      <a:gd name="connsiteY8" fmla="*/ 121443 h 121443"/>
                      <a:gd name="connsiteX9" fmla="*/ 263980 w 311943"/>
                      <a:gd name="connsiteY9" fmla="*/ 117800 h 121443"/>
                      <a:gd name="connsiteX10" fmla="*/ 259556 w 311943"/>
                      <a:gd name="connsiteY10" fmla="*/ 121443 h 121443"/>
                      <a:gd name="connsiteX11" fmla="*/ 152400 w 311943"/>
                      <a:gd name="connsiteY11" fmla="*/ 80962 h 121443"/>
                      <a:gd name="connsiteX12" fmla="*/ 0 w 311943"/>
                      <a:gd name="connsiteY12" fmla="*/ 52387 h 121443"/>
                      <a:gd name="connsiteX13" fmla="*/ 0 w 311943"/>
                      <a:gd name="connsiteY13" fmla="*/ 2381 h 121443"/>
                      <a:gd name="connsiteX14" fmla="*/ 80127 w 311943"/>
                      <a:gd name="connsiteY14" fmla="*/ 14287 h 121443"/>
                      <a:gd name="connsiteX15" fmla="*/ 154781 w 311943"/>
                      <a:gd name="connsiteY15" fmla="*/ 0 h 12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1943" h="121443">
                        <a:moveTo>
                          <a:pt x="154781" y="0"/>
                        </a:moveTo>
                        <a:lnTo>
                          <a:pt x="269238" y="38151"/>
                        </a:lnTo>
                        <a:lnTo>
                          <a:pt x="272234" y="36829"/>
                        </a:lnTo>
                        <a:lnTo>
                          <a:pt x="293731" y="46316"/>
                        </a:lnTo>
                        <a:lnTo>
                          <a:pt x="297656" y="47624"/>
                        </a:lnTo>
                        <a:lnTo>
                          <a:pt x="297682" y="48059"/>
                        </a:lnTo>
                        <a:lnTo>
                          <a:pt x="300313" y="49220"/>
                        </a:lnTo>
                        <a:cubicBezTo>
                          <a:pt x="307499" y="56876"/>
                          <a:pt x="311943" y="67453"/>
                          <a:pt x="311943" y="79136"/>
                        </a:cubicBezTo>
                        <a:cubicBezTo>
                          <a:pt x="311943" y="102502"/>
                          <a:pt x="294165" y="121443"/>
                          <a:pt x="272234" y="121443"/>
                        </a:cubicBezTo>
                        <a:lnTo>
                          <a:pt x="263980" y="117800"/>
                        </a:lnTo>
                        <a:lnTo>
                          <a:pt x="259556" y="121443"/>
                        </a:lnTo>
                        <a:lnTo>
                          <a:pt x="152400" y="80962"/>
                        </a:lnTo>
                        <a:lnTo>
                          <a:pt x="0" y="52387"/>
                        </a:lnTo>
                        <a:lnTo>
                          <a:pt x="0" y="2381"/>
                        </a:lnTo>
                        <a:lnTo>
                          <a:pt x="80127" y="14287"/>
                        </a:lnTo>
                        <a:cubicBezTo>
                          <a:pt x="105012" y="13493"/>
                          <a:pt x="129896" y="794"/>
                          <a:pt x="154781" y="0"/>
                        </a:cubicBezTo>
                        <a:close/>
                      </a:path>
                    </a:pathLst>
                  </a:custGeom>
                  <a:solidFill>
                    <a:srgbClr val="9D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222" name="Полилиния 221"/>
                <p:cNvSpPr/>
                <p:nvPr/>
              </p:nvSpPr>
              <p:spPr>
                <a:xfrm>
                  <a:off x="3619727" y="2721002"/>
                  <a:ext cx="463726" cy="640558"/>
                </a:xfrm>
                <a:custGeom>
                  <a:avLst/>
                  <a:gdLst>
                    <a:gd name="connsiteX0" fmla="*/ 247650 w 463726"/>
                    <a:gd name="connsiteY0" fmla="*/ 0 h 640557"/>
                    <a:gd name="connsiteX1" fmla="*/ 400050 w 463726"/>
                    <a:gd name="connsiteY1" fmla="*/ 28575 h 640557"/>
                    <a:gd name="connsiteX2" fmla="*/ 431007 w 463726"/>
                    <a:gd name="connsiteY2" fmla="*/ 50006 h 640557"/>
                    <a:gd name="connsiteX3" fmla="*/ 459582 w 463726"/>
                    <a:gd name="connsiteY3" fmla="*/ 219075 h 640557"/>
                    <a:gd name="connsiteX4" fmla="*/ 447452 w 463726"/>
                    <a:gd name="connsiteY4" fmla="*/ 295323 h 640557"/>
                    <a:gd name="connsiteX5" fmla="*/ 448731 w 463726"/>
                    <a:gd name="connsiteY5" fmla="*/ 297619 h 640557"/>
                    <a:gd name="connsiteX6" fmla="*/ 460378 w 463726"/>
                    <a:gd name="connsiteY6" fmla="*/ 350044 h 640557"/>
                    <a:gd name="connsiteX7" fmla="*/ 446091 w 463726"/>
                    <a:gd name="connsiteY7" fmla="*/ 516732 h 640557"/>
                    <a:gd name="connsiteX8" fmla="*/ 312739 w 463726"/>
                    <a:gd name="connsiteY8" fmla="*/ 640557 h 640557"/>
                    <a:gd name="connsiteX9" fmla="*/ 312740 w 463726"/>
                    <a:gd name="connsiteY9" fmla="*/ 640556 h 640557"/>
                    <a:gd name="connsiteX10" fmla="*/ 148433 w 463726"/>
                    <a:gd name="connsiteY10" fmla="*/ 476249 h 640557"/>
                    <a:gd name="connsiteX11" fmla="*/ 148433 w 463726"/>
                    <a:gd name="connsiteY11" fmla="*/ 418527 h 640557"/>
                    <a:gd name="connsiteX12" fmla="*/ 0 w 463726"/>
                    <a:gd name="connsiteY12" fmla="*/ 238125 h 640557"/>
                    <a:gd name="connsiteX13" fmla="*/ 147638 w 463726"/>
                    <a:gd name="connsiteY13" fmla="*/ 102393 h 640557"/>
                    <a:gd name="connsiteX0" fmla="*/ 247650 w 463726"/>
                    <a:gd name="connsiteY0" fmla="*/ 0 h 640557"/>
                    <a:gd name="connsiteX1" fmla="*/ 400050 w 463726"/>
                    <a:gd name="connsiteY1" fmla="*/ 28575 h 640557"/>
                    <a:gd name="connsiteX2" fmla="*/ 431007 w 463726"/>
                    <a:gd name="connsiteY2" fmla="*/ 50006 h 640557"/>
                    <a:gd name="connsiteX3" fmla="*/ 450057 w 463726"/>
                    <a:gd name="connsiteY3" fmla="*/ 219075 h 640557"/>
                    <a:gd name="connsiteX4" fmla="*/ 447452 w 463726"/>
                    <a:gd name="connsiteY4" fmla="*/ 295323 h 640557"/>
                    <a:gd name="connsiteX5" fmla="*/ 448731 w 463726"/>
                    <a:gd name="connsiteY5" fmla="*/ 297619 h 640557"/>
                    <a:gd name="connsiteX6" fmla="*/ 460378 w 463726"/>
                    <a:gd name="connsiteY6" fmla="*/ 350044 h 640557"/>
                    <a:gd name="connsiteX7" fmla="*/ 446091 w 463726"/>
                    <a:gd name="connsiteY7" fmla="*/ 516732 h 640557"/>
                    <a:gd name="connsiteX8" fmla="*/ 312739 w 463726"/>
                    <a:gd name="connsiteY8" fmla="*/ 640557 h 640557"/>
                    <a:gd name="connsiteX9" fmla="*/ 312740 w 463726"/>
                    <a:gd name="connsiteY9" fmla="*/ 640556 h 640557"/>
                    <a:gd name="connsiteX10" fmla="*/ 148433 w 463726"/>
                    <a:gd name="connsiteY10" fmla="*/ 476249 h 640557"/>
                    <a:gd name="connsiteX11" fmla="*/ 148433 w 463726"/>
                    <a:gd name="connsiteY11" fmla="*/ 418527 h 640557"/>
                    <a:gd name="connsiteX12" fmla="*/ 0 w 463726"/>
                    <a:gd name="connsiteY12" fmla="*/ 238125 h 640557"/>
                    <a:gd name="connsiteX13" fmla="*/ 147638 w 463726"/>
                    <a:gd name="connsiteY13" fmla="*/ 102393 h 640557"/>
                    <a:gd name="connsiteX14" fmla="*/ 247650 w 463726"/>
                    <a:gd name="connsiteY14" fmla="*/ 0 h 6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3726" h="640557">
                      <a:moveTo>
                        <a:pt x="247650" y="0"/>
                      </a:moveTo>
                      <a:lnTo>
                        <a:pt x="400050" y="28575"/>
                      </a:lnTo>
                      <a:lnTo>
                        <a:pt x="431007" y="50006"/>
                      </a:lnTo>
                      <a:lnTo>
                        <a:pt x="450057" y="219075"/>
                      </a:lnTo>
                      <a:cubicBezTo>
                        <a:pt x="449189" y="244491"/>
                        <a:pt x="448320" y="269907"/>
                        <a:pt x="447452" y="295323"/>
                      </a:cubicBezTo>
                      <a:lnTo>
                        <a:pt x="448731" y="297619"/>
                      </a:lnTo>
                      <a:cubicBezTo>
                        <a:pt x="455631" y="315814"/>
                        <a:pt x="459584" y="333971"/>
                        <a:pt x="460378" y="350044"/>
                      </a:cubicBezTo>
                      <a:cubicBezTo>
                        <a:pt x="463294" y="409078"/>
                        <a:pt x="470697" y="468313"/>
                        <a:pt x="446091" y="516732"/>
                      </a:cubicBezTo>
                      <a:cubicBezTo>
                        <a:pt x="421485" y="565151"/>
                        <a:pt x="403483" y="640557"/>
                        <a:pt x="312739" y="640557"/>
                      </a:cubicBezTo>
                      <a:lnTo>
                        <a:pt x="312740" y="640556"/>
                      </a:lnTo>
                      <a:cubicBezTo>
                        <a:pt x="221996" y="640556"/>
                        <a:pt x="148433" y="566993"/>
                        <a:pt x="148433" y="476249"/>
                      </a:cubicBezTo>
                      <a:lnTo>
                        <a:pt x="148433" y="418527"/>
                      </a:lnTo>
                      <a:lnTo>
                        <a:pt x="0" y="238125"/>
                      </a:lnTo>
                      <a:lnTo>
                        <a:pt x="147638" y="102393"/>
                      </a:lnTo>
                      <a:lnTo>
                        <a:pt x="24765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223" name="Группа 222"/>
                <p:cNvGrpSpPr/>
                <p:nvPr/>
              </p:nvGrpSpPr>
              <p:grpSpPr>
                <a:xfrm rot="18334556" flipH="1" flipV="1">
                  <a:off x="3575870" y="3047340"/>
                  <a:ext cx="247096" cy="264223"/>
                  <a:chOff x="4752289" y="1183528"/>
                  <a:chExt cx="359146" cy="413293"/>
                </a:xfrm>
                <a:solidFill>
                  <a:srgbClr val="FFD5C4"/>
                </a:solidFill>
              </p:grpSpPr>
              <p:sp>
                <p:nvSpPr>
                  <p:cNvPr id="234" name="Скругленный прямоугольник 233"/>
                  <p:cNvSpPr/>
                  <p:nvPr/>
                </p:nvSpPr>
                <p:spPr>
                  <a:xfrm rot="19277103">
                    <a:off x="4988454" y="1241426"/>
                    <a:ext cx="122981" cy="355395"/>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35" name="Скругленный прямоугольник 234"/>
                  <p:cNvSpPr/>
                  <p:nvPr/>
                </p:nvSpPr>
                <p:spPr>
                  <a:xfrm rot="18885925">
                    <a:off x="4872364" y="1146517"/>
                    <a:ext cx="30374" cy="27052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36" name="Скругленный прямоугольник 235"/>
                  <p:cNvSpPr/>
                  <p:nvPr/>
                </p:nvSpPr>
                <p:spPr>
                  <a:xfrm rot="17066771">
                    <a:off x="4869718" y="1244225"/>
                    <a:ext cx="30374" cy="20325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37" name="Скругленный прямоугольник 236"/>
                  <p:cNvSpPr/>
                  <p:nvPr/>
                </p:nvSpPr>
                <p:spPr>
                  <a:xfrm rot="18848220">
                    <a:off x="4906229" y="1182440"/>
                    <a:ext cx="32747" cy="18476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38" name="Скругленный прямоугольник 237"/>
                  <p:cNvSpPr/>
                  <p:nvPr/>
                </p:nvSpPr>
                <p:spPr>
                  <a:xfrm rot="18848220">
                    <a:off x="4934853" y="1175978"/>
                    <a:ext cx="32747" cy="167971"/>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39" name="Скругленный прямоугольник 238"/>
                  <p:cNvSpPr/>
                  <p:nvPr/>
                </p:nvSpPr>
                <p:spPr>
                  <a:xfrm rot="19246132">
                    <a:off x="4977581" y="1183528"/>
                    <a:ext cx="32750" cy="16796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224" name="Полилиния 223"/>
                <p:cNvSpPr/>
                <p:nvPr/>
              </p:nvSpPr>
              <p:spPr>
                <a:xfrm rot="2112073">
                  <a:off x="3466237" y="2911697"/>
                  <a:ext cx="266689" cy="466606"/>
                </a:xfrm>
                <a:custGeom>
                  <a:avLst/>
                  <a:gdLst>
                    <a:gd name="connsiteX0" fmla="*/ 49440 w 266689"/>
                    <a:gd name="connsiteY0" fmla="*/ 11371 h 466604"/>
                    <a:gd name="connsiteX1" fmla="*/ 73478 w 266689"/>
                    <a:gd name="connsiteY1" fmla="*/ 0 h 466604"/>
                    <a:gd name="connsiteX2" fmla="*/ 135234 w 266689"/>
                    <a:gd name="connsiteY2" fmla="*/ 144701 h 466604"/>
                    <a:gd name="connsiteX3" fmla="*/ 130381 w 266689"/>
                    <a:gd name="connsiteY3" fmla="*/ 201025 h 466604"/>
                    <a:gd name="connsiteX4" fmla="*/ 120367 w 266689"/>
                    <a:gd name="connsiteY4" fmla="*/ 235827 h 466604"/>
                    <a:gd name="connsiteX5" fmla="*/ 119824 w 266689"/>
                    <a:gd name="connsiteY5" fmla="*/ 251244 h 466604"/>
                    <a:gd name="connsiteX6" fmla="*/ 128416 w 266689"/>
                    <a:gd name="connsiteY6" fmla="*/ 277967 h 466604"/>
                    <a:gd name="connsiteX7" fmla="*/ 186101 w 266689"/>
                    <a:gd name="connsiteY7" fmla="*/ 244073 h 466604"/>
                    <a:gd name="connsiteX8" fmla="*/ 210297 w 266689"/>
                    <a:gd name="connsiteY8" fmla="*/ 221775 h 466604"/>
                    <a:gd name="connsiteX9" fmla="*/ 266689 w 266689"/>
                    <a:gd name="connsiteY9" fmla="*/ 301712 h 466604"/>
                    <a:gd name="connsiteX10" fmla="*/ 255984 w 266689"/>
                    <a:gd name="connsiteY10" fmla="*/ 316239 h 466604"/>
                    <a:gd name="connsiteX11" fmla="*/ 198121 w 266689"/>
                    <a:gd name="connsiteY11" fmla="*/ 381879 h 466604"/>
                    <a:gd name="connsiteX12" fmla="*/ 154587 w 266689"/>
                    <a:gd name="connsiteY12" fmla="*/ 424443 h 466604"/>
                    <a:gd name="connsiteX13" fmla="*/ 122075 w 266689"/>
                    <a:gd name="connsiteY13" fmla="*/ 452128 h 466604"/>
                    <a:gd name="connsiteX14" fmla="*/ 73425 w 266689"/>
                    <a:gd name="connsiteY14" fmla="*/ 466604 h 466604"/>
                    <a:gd name="connsiteX15" fmla="*/ 52910 w 266689"/>
                    <a:gd name="connsiteY15" fmla="*/ 459373 h 466604"/>
                    <a:gd name="connsiteX16" fmla="*/ 20494 w 266689"/>
                    <a:gd name="connsiteY16" fmla="*/ 410018 h 466604"/>
                    <a:gd name="connsiteX17" fmla="*/ 8376 w 266689"/>
                    <a:gd name="connsiteY17" fmla="*/ 358869 h 466604"/>
                    <a:gd name="connsiteX18" fmla="*/ 0 w 266689"/>
                    <a:gd name="connsiteY18" fmla="*/ 335636 h 466604"/>
                    <a:gd name="connsiteX19" fmla="*/ 24042 w 266689"/>
                    <a:gd name="connsiteY19" fmla="*/ 59224 h 466604"/>
                    <a:gd name="connsiteX20" fmla="*/ 26918 w 266689"/>
                    <a:gd name="connsiteY20" fmla="*/ 51809 h 466604"/>
                    <a:gd name="connsiteX21" fmla="*/ 28697 w 266689"/>
                    <a:gd name="connsiteY21" fmla="*/ 37471 h 466604"/>
                    <a:gd name="connsiteX22" fmla="*/ 32905 w 266689"/>
                    <a:gd name="connsiteY22" fmla="*/ 36371 h 466604"/>
                    <a:gd name="connsiteX23" fmla="*/ 34195 w 266689"/>
                    <a:gd name="connsiteY23" fmla="*/ 33043 h 466604"/>
                    <a:gd name="connsiteX24" fmla="*/ 49440 w 266689"/>
                    <a:gd name="connsiteY24" fmla="*/ 11371 h 46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6689" h="466604">
                      <a:moveTo>
                        <a:pt x="49440" y="11371"/>
                      </a:moveTo>
                      <a:cubicBezTo>
                        <a:pt x="56828" y="4049"/>
                        <a:pt x="64951" y="0"/>
                        <a:pt x="73478" y="0"/>
                      </a:cubicBezTo>
                      <a:cubicBezTo>
                        <a:pt x="107585" y="0"/>
                        <a:pt x="135234" y="64785"/>
                        <a:pt x="135234" y="144701"/>
                      </a:cubicBezTo>
                      <a:cubicBezTo>
                        <a:pt x="135234" y="164680"/>
                        <a:pt x="133506" y="183714"/>
                        <a:pt x="130381" y="201025"/>
                      </a:cubicBezTo>
                      <a:lnTo>
                        <a:pt x="120367" y="235827"/>
                      </a:lnTo>
                      <a:lnTo>
                        <a:pt x="119824" y="251244"/>
                      </a:lnTo>
                      <a:cubicBezTo>
                        <a:pt x="120785" y="260037"/>
                        <a:pt x="123332" y="268925"/>
                        <a:pt x="128416" y="277967"/>
                      </a:cubicBezTo>
                      <a:cubicBezTo>
                        <a:pt x="151763" y="272506"/>
                        <a:pt x="169618" y="259262"/>
                        <a:pt x="186101" y="244073"/>
                      </a:cubicBezTo>
                      <a:lnTo>
                        <a:pt x="210297" y="221775"/>
                      </a:lnTo>
                      <a:lnTo>
                        <a:pt x="266689" y="301712"/>
                      </a:lnTo>
                      <a:lnTo>
                        <a:pt x="255984" y="316239"/>
                      </a:lnTo>
                      <a:cubicBezTo>
                        <a:pt x="240439" y="335914"/>
                        <a:pt x="220596" y="358568"/>
                        <a:pt x="198121" y="381879"/>
                      </a:cubicBezTo>
                      <a:cubicBezTo>
                        <a:pt x="183138" y="397419"/>
                        <a:pt x="168403" y="411780"/>
                        <a:pt x="154587" y="424443"/>
                      </a:cubicBezTo>
                      <a:lnTo>
                        <a:pt x="122075" y="452128"/>
                      </a:lnTo>
                      <a:lnTo>
                        <a:pt x="73425" y="466604"/>
                      </a:lnTo>
                      <a:lnTo>
                        <a:pt x="52910" y="459373"/>
                      </a:lnTo>
                      <a:cubicBezTo>
                        <a:pt x="40757" y="449587"/>
                        <a:pt x="29491" y="432306"/>
                        <a:pt x="20494" y="410018"/>
                      </a:cubicBezTo>
                      <a:lnTo>
                        <a:pt x="8376" y="358869"/>
                      </a:lnTo>
                      <a:lnTo>
                        <a:pt x="0" y="335636"/>
                      </a:lnTo>
                      <a:lnTo>
                        <a:pt x="24042" y="59224"/>
                      </a:lnTo>
                      <a:lnTo>
                        <a:pt x="26918" y="51809"/>
                      </a:lnTo>
                      <a:lnTo>
                        <a:pt x="28697" y="37471"/>
                      </a:lnTo>
                      <a:lnTo>
                        <a:pt x="32905" y="36371"/>
                      </a:lnTo>
                      <a:lnTo>
                        <a:pt x="34195" y="33043"/>
                      </a:lnTo>
                      <a:cubicBezTo>
                        <a:pt x="38770" y="24196"/>
                        <a:pt x="43898" y="16863"/>
                        <a:pt x="49440" y="11371"/>
                      </a:cubicBezTo>
                      <a:close/>
                    </a:path>
                  </a:pathLst>
                </a:custGeom>
                <a:solidFill>
                  <a:srgbClr val="B3B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25" name="Овал 224"/>
                <p:cNvSpPr/>
                <p:nvPr/>
              </p:nvSpPr>
              <p:spPr>
                <a:xfrm>
                  <a:off x="3647676" y="3182887"/>
                  <a:ext cx="45719" cy="101350"/>
                </a:xfrm>
                <a:prstGeom prst="ellipse">
                  <a:avLst/>
                </a:prstGeom>
                <a:solidFill>
                  <a:srgbClr val="FFD5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226" name="Группа 225"/>
                <p:cNvGrpSpPr/>
                <p:nvPr/>
              </p:nvGrpSpPr>
              <p:grpSpPr>
                <a:xfrm>
                  <a:off x="3790745" y="2449050"/>
                  <a:ext cx="245909" cy="385902"/>
                  <a:chOff x="4292857" y="2899419"/>
                  <a:chExt cx="207976" cy="326378"/>
                </a:xfrm>
              </p:grpSpPr>
              <p:sp>
                <p:nvSpPr>
                  <p:cNvPr id="228" name="Полилиния 227"/>
                  <p:cNvSpPr/>
                  <p:nvPr/>
                </p:nvSpPr>
                <p:spPr>
                  <a:xfrm>
                    <a:off x="4321919" y="3088493"/>
                    <a:ext cx="135730" cy="137304"/>
                  </a:xfrm>
                  <a:custGeom>
                    <a:avLst/>
                    <a:gdLst>
                      <a:gd name="connsiteX0" fmla="*/ 2381 w 135731"/>
                      <a:gd name="connsiteY0" fmla="*/ 0 h 121444"/>
                      <a:gd name="connsiteX1" fmla="*/ 0 w 135731"/>
                      <a:gd name="connsiteY1" fmla="*/ 119062 h 121444"/>
                      <a:gd name="connsiteX2" fmla="*/ 135731 w 135731"/>
                      <a:gd name="connsiteY2" fmla="*/ 121444 h 121444"/>
                      <a:gd name="connsiteX3" fmla="*/ 135731 w 135731"/>
                      <a:gd name="connsiteY3" fmla="*/ 33337 h 121444"/>
                      <a:gd name="connsiteX4" fmla="*/ 2381 w 135731"/>
                      <a:gd name="connsiteY4" fmla="*/ 0 h 121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31" h="121444">
                        <a:moveTo>
                          <a:pt x="2381" y="0"/>
                        </a:moveTo>
                        <a:cubicBezTo>
                          <a:pt x="1587" y="39687"/>
                          <a:pt x="794" y="79375"/>
                          <a:pt x="0" y="119062"/>
                        </a:cubicBezTo>
                        <a:lnTo>
                          <a:pt x="135731" y="121444"/>
                        </a:lnTo>
                        <a:lnTo>
                          <a:pt x="135731" y="33337"/>
                        </a:lnTo>
                        <a:lnTo>
                          <a:pt x="2381" y="0"/>
                        </a:lnTo>
                        <a:close/>
                      </a:path>
                    </a:pathLst>
                  </a:custGeom>
                  <a:solidFill>
                    <a:srgbClr val="C59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29" name="Овал 228"/>
                  <p:cNvSpPr/>
                  <p:nvPr/>
                </p:nvSpPr>
                <p:spPr>
                  <a:xfrm>
                    <a:off x="4434846" y="2933465"/>
                    <a:ext cx="47221" cy="202407"/>
                  </a:xfrm>
                  <a:prstGeom prst="ellipse">
                    <a:avLst/>
                  </a:prstGeom>
                  <a:solidFill>
                    <a:srgbClr val="FFD6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30" name="Полилиния 229"/>
                  <p:cNvSpPr/>
                  <p:nvPr/>
                </p:nvSpPr>
                <p:spPr>
                  <a:xfrm rot="17592875">
                    <a:off x="4310794" y="2948516"/>
                    <a:ext cx="212436" cy="167642"/>
                  </a:xfrm>
                  <a:custGeom>
                    <a:avLst/>
                    <a:gdLst>
                      <a:gd name="connsiteX0" fmla="*/ 212435 w 212435"/>
                      <a:gd name="connsiteY0" fmla="*/ 80652 h 167645"/>
                      <a:gd name="connsiteX1" fmla="*/ 146786 w 212435"/>
                      <a:gd name="connsiteY1" fmla="*/ 126946 h 167645"/>
                      <a:gd name="connsiteX2" fmla="*/ 45891 w 212435"/>
                      <a:gd name="connsiteY2" fmla="*/ 157086 h 167645"/>
                      <a:gd name="connsiteX3" fmla="*/ 42964 w 212435"/>
                      <a:gd name="connsiteY3" fmla="*/ 161818 h 167645"/>
                      <a:gd name="connsiteX4" fmla="*/ 30926 w 212435"/>
                      <a:gd name="connsiteY4" fmla="*/ 167645 h 167645"/>
                      <a:gd name="connsiteX5" fmla="*/ 0 w 212435"/>
                      <a:gd name="connsiteY5" fmla="*/ 93501 h 167645"/>
                      <a:gd name="connsiteX6" fmla="*/ 30926 w 212435"/>
                      <a:gd name="connsiteY6" fmla="*/ 19357 h 167645"/>
                      <a:gd name="connsiteX7" fmla="*/ 31719 w 212435"/>
                      <a:gd name="connsiteY7" fmla="*/ 19741 h 167645"/>
                      <a:gd name="connsiteX8" fmla="*/ 32630 w 212435"/>
                      <a:gd name="connsiteY8" fmla="*/ 17854 h 167645"/>
                      <a:gd name="connsiteX9" fmla="*/ 146751 w 212435"/>
                      <a:gd name="connsiteY9" fmla="*/ 0 h 167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435" h="167645">
                        <a:moveTo>
                          <a:pt x="212435" y="80652"/>
                        </a:moveTo>
                        <a:lnTo>
                          <a:pt x="146786" y="126946"/>
                        </a:lnTo>
                        <a:lnTo>
                          <a:pt x="45891" y="157086"/>
                        </a:lnTo>
                        <a:lnTo>
                          <a:pt x="42964" y="161818"/>
                        </a:lnTo>
                        <a:cubicBezTo>
                          <a:pt x="39264" y="165570"/>
                          <a:pt x="35196" y="167645"/>
                          <a:pt x="30926" y="167645"/>
                        </a:cubicBezTo>
                        <a:cubicBezTo>
                          <a:pt x="13846" y="167645"/>
                          <a:pt x="0" y="134450"/>
                          <a:pt x="0" y="93501"/>
                        </a:cubicBezTo>
                        <a:cubicBezTo>
                          <a:pt x="0" y="52552"/>
                          <a:pt x="13846" y="19357"/>
                          <a:pt x="30926" y="19357"/>
                        </a:cubicBezTo>
                        <a:lnTo>
                          <a:pt x="31719" y="19741"/>
                        </a:lnTo>
                        <a:lnTo>
                          <a:pt x="32630" y="17854"/>
                        </a:lnTo>
                        <a:lnTo>
                          <a:pt x="146751" y="0"/>
                        </a:lnTo>
                        <a:close/>
                      </a:path>
                    </a:pathLst>
                  </a:custGeom>
                  <a:solidFill>
                    <a:srgbClr val="FFD6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31" name="Полилиния 230"/>
                  <p:cNvSpPr/>
                  <p:nvPr/>
                </p:nvSpPr>
                <p:spPr>
                  <a:xfrm>
                    <a:off x="4294253" y="2956769"/>
                    <a:ext cx="102393" cy="147638"/>
                  </a:xfrm>
                  <a:custGeom>
                    <a:avLst/>
                    <a:gdLst>
                      <a:gd name="connsiteX0" fmla="*/ 100013 w 100013"/>
                      <a:gd name="connsiteY0" fmla="*/ 28575 h 140494"/>
                      <a:gd name="connsiteX1" fmla="*/ 71438 w 100013"/>
                      <a:gd name="connsiteY1" fmla="*/ 85725 h 140494"/>
                      <a:gd name="connsiteX2" fmla="*/ 66675 w 100013"/>
                      <a:gd name="connsiteY2" fmla="*/ 140494 h 140494"/>
                      <a:gd name="connsiteX3" fmla="*/ 54769 w 100013"/>
                      <a:gd name="connsiteY3" fmla="*/ 138112 h 140494"/>
                      <a:gd name="connsiteX4" fmla="*/ 38100 w 100013"/>
                      <a:gd name="connsiteY4" fmla="*/ 78581 h 140494"/>
                      <a:gd name="connsiteX5" fmla="*/ 4763 w 100013"/>
                      <a:gd name="connsiteY5" fmla="*/ 88106 h 140494"/>
                      <a:gd name="connsiteX6" fmla="*/ 21432 w 100013"/>
                      <a:gd name="connsiteY6" fmla="*/ 135731 h 140494"/>
                      <a:gd name="connsiteX7" fmla="*/ 0 w 100013"/>
                      <a:gd name="connsiteY7" fmla="*/ 0 h 140494"/>
                      <a:gd name="connsiteX8" fmla="*/ 100013 w 100013"/>
                      <a:gd name="connsiteY8" fmla="*/ 28575 h 140494"/>
                      <a:gd name="connsiteX0" fmla="*/ 102394 w 102394"/>
                      <a:gd name="connsiteY0" fmla="*/ 19050 h 140494"/>
                      <a:gd name="connsiteX1" fmla="*/ 71438 w 102394"/>
                      <a:gd name="connsiteY1" fmla="*/ 85725 h 140494"/>
                      <a:gd name="connsiteX2" fmla="*/ 66675 w 102394"/>
                      <a:gd name="connsiteY2" fmla="*/ 140494 h 140494"/>
                      <a:gd name="connsiteX3" fmla="*/ 54769 w 102394"/>
                      <a:gd name="connsiteY3" fmla="*/ 138112 h 140494"/>
                      <a:gd name="connsiteX4" fmla="*/ 38100 w 102394"/>
                      <a:gd name="connsiteY4" fmla="*/ 78581 h 140494"/>
                      <a:gd name="connsiteX5" fmla="*/ 4763 w 102394"/>
                      <a:gd name="connsiteY5" fmla="*/ 88106 h 140494"/>
                      <a:gd name="connsiteX6" fmla="*/ 21432 w 102394"/>
                      <a:gd name="connsiteY6" fmla="*/ 135731 h 140494"/>
                      <a:gd name="connsiteX7" fmla="*/ 0 w 102394"/>
                      <a:gd name="connsiteY7" fmla="*/ 0 h 140494"/>
                      <a:gd name="connsiteX8" fmla="*/ 102394 w 102394"/>
                      <a:gd name="connsiteY8" fmla="*/ 19050 h 140494"/>
                      <a:gd name="connsiteX0" fmla="*/ 102394 w 102394"/>
                      <a:gd name="connsiteY0" fmla="*/ 19050 h 147638"/>
                      <a:gd name="connsiteX1" fmla="*/ 71438 w 102394"/>
                      <a:gd name="connsiteY1" fmla="*/ 85725 h 147638"/>
                      <a:gd name="connsiteX2" fmla="*/ 66675 w 102394"/>
                      <a:gd name="connsiteY2" fmla="*/ 140494 h 147638"/>
                      <a:gd name="connsiteX3" fmla="*/ 54769 w 102394"/>
                      <a:gd name="connsiteY3" fmla="*/ 138112 h 147638"/>
                      <a:gd name="connsiteX4" fmla="*/ 38100 w 102394"/>
                      <a:gd name="connsiteY4" fmla="*/ 78581 h 147638"/>
                      <a:gd name="connsiteX5" fmla="*/ 4763 w 102394"/>
                      <a:gd name="connsiteY5" fmla="*/ 88106 h 147638"/>
                      <a:gd name="connsiteX6" fmla="*/ 35719 w 102394"/>
                      <a:gd name="connsiteY6" fmla="*/ 147638 h 147638"/>
                      <a:gd name="connsiteX7" fmla="*/ 0 w 102394"/>
                      <a:gd name="connsiteY7" fmla="*/ 0 h 147638"/>
                      <a:gd name="connsiteX8" fmla="*/ 102394 w 102394"/>
                      <a:gd name="connsiteY8" fmla="*/ 19050 h 14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94" h="147638">
                        <a:moveTo>
                          <a:pt x="102394" y="19050"/>
                        </a:moveTo>
                        <a:lnTo>
                          <a:pt x="71438" y="85725"/>
                        </a:lnTo>
                        <a:lnTo>
                          <a:pt x="66675" y="140494"/>
                        </a:lnTo>
                        <a:lnTo>
                          <a:pt x="54769" y="138112"/>
                        </a:lnTo>
                        <a:lnTo>
                          <a:pt x="38100" y="78581"/>
                        </a:lnTo>
                        <a:lnTo>
                          <a:pt x="4763" y="88106"/>
                        </a:lnTo>
                        <a:lnTo>
                          <a:pt x="35719" y="147638"/>
                        </a:lnTo>
                        <a:lnTo>
                          <a:pt x="0" y="0"/>
                        </a:lnTo>
                        <a:lnTo>
                          <a:pt x="102394" y="19050"/>
                        </a:lnTo>
                        <a:close/>
                      </a:path>
                    </a:pathLst>
                  </a:custGeom>
                  <a:solidFill>
                    <a:srgbClr val="814C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32" name="Овал 2058"/>
                  <p:cNvSpPr/>
                  <p:nvPr/>
                </p:nvSpPr>
                <p:spPr>
                  <a:xfrm>
                    <a:off x="4292857" y="2899419"/>
                    <a:ext cx="200113" cy="84269"/>
                  </a:xfrm>
                  <a:custGeom>
                    <a:avLst/>
                    <a:gdLst>
                      <a:gd name="connsiteX0" fmla="*/ 0 w 180975"/>
                      <a:gd name="connsiteY0" fmla="*/ 42060 h 84119"/>
                      <a:gd name="connsiteX1" fmla="*/ 90488 w 180975"/>
                      <a:gd name="connsiteY1" fmla="*/ 0 h 84119"/>
                      <a:gd name="connsiteX2" fmla="*/ 180976 w 180975"/>
                      <a:gd name="connsiteY2" fmla="*/ 42060 h 84119"/>
                      <a:gd name="connsiteX3" fmla="*/ 90488 w 180975"/>
                      <a:gd name="connsiteY3" fmla="*/ 84120 h 84119"/>
                      <a:gd name="connsiteX4" fmla="*/ 0 w 180975"/>
                      <a:gd name="connsiteY4" fmla="*/ 42060 h 84119"/>
                      <a:gd name="connsiteX0" fmla="*/ 3066 w 184042"/>
                      <a:gd name="connsiteY0" fmla="*/ 44736 h 86796"/>
                      <a:gd name="connsiteX1" fmla="*/ 27913 w 184042"/>
                      <a:gd name="connsiteY1" fmla="*/ 8697 h 86796"/>
                      <a:gd name="connsiteX2" fmla="*/ 93554 w 184042"/>
                      <a:gd name="connsiteY2" fmla="*/ 2676 h 86796"/>
                      <a:gd name="connsiteX3" fmla="*/ 184042 w 184042"/>
                      <a:gd name="connsiteY3" fmla="*/ 44736 h 86796"/>
                      <a:gd name="connsiteX4" fmla="*/ 93554 w 184042"/>
                      <a:gd name="connsiteY4" fmla="*/ 86796 h 86796"/>
                      <a:gd name="connsiteX5" fmla="*/ 3066 w 184042"/>
                      <a:gd name="connsiteY5" fmla="*/ 44736 h 86796"/>
                      <a:gd name="connsiteX0" fmla="*/ 1791 w 204198"/>
                      <a:gd name="connsiteY0" fmla="*/ 66168 h 87469"/>
                      <a:gd name="connsiteX1" fmla="*/ 48069 w 204198"/>
                      <a:gd name="connsiteY1" fmla="*/ 8697 h 87469"/>
                      <a:gd name="connsiteX2" fmla="*/ 113710 w 204198"/>
                      <a:gd name="connsiteY2" fmla="*/ 2676 h 87469"/>
                      <a:gd name="connsiteX3" fmla="*/ 204198 w 204198"/>
                      <a:gd name="connsiteY3" fmla="*/ 44736 h 87469"/>
                      <a:gd name="connsiteX4" fmla="*/ 113710 w 204198"/>
                      <a:gd name="connsiteY4" fmla="*/ 86796 h 87469"/>
                      <a:gd name="connsiteX5" fmla="*/ 1791 w 204198"/>
                      <a:gd name="connsiteY5" fmla="*/ 66168 h 87469"/>
                      <a:gd name="connsiteX0" fmla="*/ 1791 w 197055"/>
                      <a:gd name="connsiteY0" fmla="*/ 67929 h 89180"/>
                      <a:gd name="connsiteX1" fmla="*/ 48069 w 197055"/>
                      <a:gd name="connsiteY1" fmla="*/ 10458 h 89180"/>
                      <a:gd name="connsiteX2" fmla="*/ 113710 w 197055"/>
                      <a:gd name="connsiteY2" fmla="*/ 4437 h 89180"/>
                      <a:gd name="connsiteX3" fmla="*/ 197055 w 197055"/>
                      <a:gd name="connsiteY3" fmla="*/ 70309 h 89180"/>
                      <a:gd name="connsiteX4" fmla="*/ 113710 w 197055"/>
                      <a:gd name="connsiteY4" fmla="*/ 88557 h 89180"/>
                      <a:gd name="connsiteX5" fmla="*/ 1791 w 197055"/>
                      <a:gd name="connsiteY5" fmla="*/ 67929 h 89180"/>
                      <a:gd name="connsiteX0" fmla="*/ 1791 w 200660"/>
                      <a:gd name="connsiteY0" fmla="*/ 64742 h 85381"/>
                      <a:gd name="connsiteX1" fmla="*/ 48069 w 200660"/>
                      <a:gd name="connsiteY1" fmla="*/ 7271 h 85381"/>
                      <a:gd name="connsiteX2" fmla="*/ 113710 w 200660"/>
                      <a:gd name="connsiteY2" fmla="*/ 1250 h 85381"/>
                      <a:gd name="connsiteX3" fmla="*/ 181419 w 200660"/>
                      <a:gd name="connsiteY3" fmla="*/ 23938 h 85381"/>
                      <a:gd name="connsiteX4" fmla="*/ 197055 w 200660"/>
                      <a:gd name="connsiteY4" fmla="*/ 67122 h 85381"/>
                      <a:gd name="connsiteX5" fmla="*/ 113710 w 200660"/>
                      <a:gd name="connsiteY5" fmla="*/ 85370 h 85381"/>
                      <a:gd name="connsiteX6" fmla="*/ 1791 w 200660"/>
                      <a:gd name="connsiteY6" fmla="*/ 64742 h 85381"/>
                      <a:gd name="connsiteX0" fmla="*/ 1791 w 200115"/>
                      <a:gd name="connsiteY0" fmla="*/ 63630 h 84269"/>
                      <a:gd name="connsiteX1" fmla="*/ 48069 w 200115"/>
                      <a:gd name="connsiteY1" fmla="*/ 6159 h 84269"/>
                      <a:gd name="connsiteX2" fmla="*/ 113710 w 200115"/>
                      <a:gd name="connsiteY2" fmla="*/ 138 h 84269"/>
                      <a:gd name="connsiteX3" fmla="*/ 138555 w 200115"/>
                      <a:gd name="connsiteY3" fmla="*/ 3776 h 84269"/>
                      <a:gd name="connsiteX4" fmla="*/ 181419 w 200115"/>
                      <a:gd name="connsiteY4" fmla="*/ 22826 h 84269"/>
                      <a:gd name="connsiteX5" fmla="*/ 197055 w 200115"/>
                      <a:gd name="connsiteY5" fmla="*/ 66010 h 84269"/>
                      <a:gd name="connsiteX6" fmla="*/ 113710 w 200115"/>
                      <a:gd name="connsiteY6" fmla="*/ 84258 h 84269"/>
                      <a:gd name="connsiteX7" fmla="*/ 1791 w 200115"/>
                      <a:gd name="connsiteY7" fmla="*/ 63630 h 84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115" h="84269">
                        <a:moveTo>
                          <a:pt x="1791" y="63630"/>
                        </a:moveTo>
                        <a:cubicBezTo>
                          <a:pt x="-9149" y="50614"/>
                          <a:pt x="32988" y="13169"/>
                          <a:pt x="48069" y="6159"/>
                        </a:cubicBezTo>
                        <a:cubicBezTo>
                          <a:pt x="63150" y="-851"/>
                          <a:pt x="98629" y="535"/>
                          <a:pt x="113710" y="138"/>
                        </a:cubicBezTo>
                        <a:cubicBezTo>
                          <a:pt x="128791" y="-259"/>
                          <a:pt x="127270" y="-5"/>
                          <a:pt x="138555" y="3776"/>
                        </a:cubicBezTo>
                        <a:cubicBezTo>
                          <a:pt x="149840" y="7557"/>
                          <a:pt x="171669" y="12454"/>
                          <a:pt x="181419" y="22826"/>
                        </a:cubicBezTo>
                        <a:cubicBezTo>
                          <a:pt x="191169" y="33198"/>
                          <a:pt x="206752" y="57756"/>
                          <a:pt x="197055" y="66010"/>
                        </a:cubicBezTo>
                        <a:cubicBezTo>
                          <a:pt x="187358" y="74264"/>
                          <a:pt x="146254" y="84655"/>
                          <a:pt x="113710" y="84258"/>
                        </a:cubicBezTo>
                        <a:cubicBezTo>
                          <a:pt x="81166" y="83861"/>
                          <a:pt x="12731" y="76646"/>
                          <a:pt x="1791" y="63630"/>
                        </a:cubicBezTo>
                        <a:close/>
                      </a:path>
                    </a:pathLst>
                  </a:custGeom>
                  <a:solidFill>
                    <a:srgbClr val="AB66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33" name="Овал 232"/>
                  <p:cNvSpPr/>
                  <p:nvPr/>
                </p:nvSpPr>
                <p:spPr>
                  <a:xfrm rot="20210880">
                    <a:off x="4308420" y="3027659"/>
                    <a:ext cx="37785" cy="61881"/>
                  </a:xfrm>
                  <a:prstGeom prst="ellipse">
                    <a:avLst/>
                  </a:prstGeom>
                  <a:solidFill>
                    <a:srgbClr val="C78C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227" name="Полилиния 226"/>
                <p:cNvSpPr/>
                <p:nvPr/>
              </p:nvSpPr>
              <p:spPr>
                <a:xfrm>
                  <a:off x="3776319" y="2738490"/>
                  <a:ext cx="240507" cy="188119"/>
                </a:xfrm>
                <a:custGeom>
                  <a:avLst/>
                  <a:gdLst>
                    <a:gd name="connsiteX0" fmla="*/ 35719 w 240507"/>
                    <a:gd name="connsiteY0" fmla="*/ 28575 h 195263"/>
                    <a:gd name="connsiteX1" fmla="*/ 0 w 240507"/>
                    <a:gd name="connsiteY1" fmla="*/ 83344 h 195263"/>
                    <a:gd name="connsiteX2" fmla="*/ 178594 w 240507"/>
                    <a:gd name="connsiteY2" fmla="*/ 195263 h 195263"/>
                    <a:gd name="connsiteX3" fmla="*/ 188119 w 240507"/>
                    <a:gd name="connsiteY3" fmla="*/ 116682 h 195263"/>
                    <a:gd name="connsiteX4" fmla="*/ 240507 w 240507"/>
                    <a:gd name="connsiteY4" fmla="*/ 188119 h 195263"/>
                    <a:gd name="connsiteX5" fmla="*/ 219075 w 240507"/>
                    <a:gd name="connsiteY5" fmla="*/ 0 h 195263"/>
                    <a:gd name="connsiteX6" fmla="*/ 173832 w 240507"/>
                    <a:gd name="connsiteY6" fmla="*/ 102394 h 195263"/>
                    <a:gd name="connsiteX7" fmla="*/ 35719 w 240507"/>
                    <a:gd name="connsiteY7" fmla="*/ 28575 h 195263"/>
                    <a:gd name="connsiteX0" fmla="*/ 47626 w 240507"/>
                    <a:gd name="connsiteY0" fmla="*/ 40481 h 195263"/>
                    <a:gd name="connsiteX1" fmla="*/ 0 w 240507"/>
                    <a:gd name="connsiteY1" fmla="*/ 83344 h 195263"/>
                    <a:gd name="connsiteX2" fmla="*/ 178594 w 240507"/>
                    <a:gd name="connsiteY2" fmla="*/ 195263 h 195263"/>
                    <a:gd name="connsiteX3" fmla="*/ 188119 w 240507"/>
                    <a:gd name="connsiteY3" fmla="*/ 116682 h 195263"/>
                    <a:gd name="connsiteX4" fmla="*/ 240507 w 240507"/>
                    <a:gd name="connsiteY4" fmla="*/ 188119 h 195263"/>
                    <a:gd name="connsiteX5" fmla="*/ 219075 w 240507"/>
                    <a:gd name="connsiteY5" fmla="*/ 0 h 195263"/>
                    <a:gd name="connsiteX6" fmla="*/ 173832 w 240507"/>
                    <a:gd name="connsiteY6" fmla="*/ 102394 h 195263"/>
                    <a:gd name="connsiteX7" fmla="*/ 47626 w 240507"/>
                    <a:gd name="connsiteY7" fmla="*/ 40481 h 195263"/>
                    <a:gd name="connsiteX0" fmla="*/ 47626 w 240507"/>
                    <a:gd name="connsiteY0" fmla="*/ 35719 h 195263"/>
                    <a:gd name="connsiteX1" fmla="*/ 0 w 240507"/>
                    <a:gd name="connsiteY1" fmla="*/ 83344 h 195263"/>
                    <a:gd name="connsiteX2" fmla="*/ 178594 w 240507"/>
                    <a:gd name="connsiteY2" fmla="*/ 195263 h 195263"/>
                    <a:gd name="connsiteX3" fmla="*/ 188119 w 240507"/>
                    <a:gd name="connsiteY3" fmla="*/ 116682 h 195263"/>
                    <a:gd name="connsiteX4" fmla="*/ 240507 w 240507"/>
                    <a:gd name="connsiteY4" fmla="*/ 188119 h 195263"/>
                    <a:gd name="connsiteX5" fmla="*/ 219075 w 240507"/>
                    <a:gd name="connsiteY5" fmla="*/ 0 h 195263"/>
                    <a:gd name="connsiteX6" fmla="*/ 173832 w 240507"/>
                    <a:gd name="connsiteY6" fmla="*/ 102394 h 195263"/>
                    <a:gd name="connsiteX7" fmla="*/ 47626 w 240507"/>
                    <a:gd name="connsiteY7" fmla="*/ 35719 h 195263"/>
                    <a:gd name="connsiteX0" fmla="*/ 47626 w 240507"/>
                    <a:gd name="connsiteY0" fmla="*/ 28575 h 188119"/>
                    <a:gd name="connsiteX1" fmla="*/ 0 w 240507"/>
                    <a:gd name="connsiteY1" fmla="*/ 76200 h 188119"/>
                    <a:gd name="connsiteX2" fmla="*/ 178594 w 240507"/>
                    <a:gd name="connsiteY2" fmla="*/ 188119 h 188119"/>
                    <a:gd name="connsiteX3" fmla="*/ 188119 w 240507"/>
                    <a:gd name="connsiteY3" fmla="*/ 109538 h 188119"/>
                    <a:gd name="connsiteX4" fmla="*/ 240507 w 240507"/>
                    <a:gd name="connsiteY4" fmla="*/ 180975 h 188119"/>
                    <a:gd name="connsiteX5" fmla="*/ 214313 w 240507"/>
                    <a:gd name="connsiteY5" fmla="*/ 0 h 188119"/>
                    <a:gd name="connsiteX6" fmla="*/ 173832 w 240507"/>
                    <a:gd name="connsiteY6" fmla="*/ 95250 h 188119"/>
                    <a:gd name="connsiteX7" fmla="*/ 47626 w 240507"/>
                    <a:gd name="connsiteY7" fmla="*/ 28575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507" h="188119">
                      <a:moveTo>
                        <a:pt x="47626" y="28575"/>
                      </a:moveTo>
                      <a:lnTo>
                        <a:pt x="0" y="76200"/>
                      </a:lnTo>
                      <a:lnTo>
                        <a:pt x="178594" y="188119"/>
                      </a:lnTo>
                      <a:lnTo>
                        <a:pt x="188119" y="109538"/>
                      </a:lnTo>
                      <a:lnTo>
                        <a:pt x="240507" y="180975"/>
                      </a:lnTo>
                      <a:lnTo>
                        <a:pt x="214313" y="0"/>
                      </a:lnTo>
                      <a:lnTo>
                        <a:pt x="173832" y="95250"/>
                      </a:lnTo>
                      <a:lnTo>
                        <a:pt x="47626" y="28575"/>
                      </a:lnTo>
                      <a:close/>
                    </a:path>
                  </a:pathLst>
                </a:custGeom>
                <a:solidFill>
                  <a:schemeClr val="bg1">
                    <a:lumMod val="95000"/>
                  </a:schemeClr>
                </a:solidFill>
                <a:ln>
                  <a:noFill/>
                </a:ln>
                <a:effectLst>
                  <a:outerShdw blurRad="127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sp>
          <p:nvSpPr>
            <p:cNvPr id="52" name="Скругленный прямоугольник 51"/>
            <p:cNvSpPr/>
            <p:nvPr/>
          </p:nvSpPr>
          <p:spPr>
            <a:xfrm rot="177430">
              <a:off x="4176108" y="2859164"/>
              <a:ext cx="1376490" cy="3189031"/>
            </a:xfrm>
            <a:prstGeom prst="roundRect">
              <a:avLst>
                <a:gd name="adj" fmla="val 42357"/>
              </a:avLst>
            </a:prstGeom>
            <a:solidFill>
              <a:schemeClr val="bg1"/>
            </a:solidFill>
            <a:ln>
              <a:noFill/>
            </a:ln>
            <a:scene3d>
              <a:camera prst="isometricOffAxis1Top">
                <a:rot lat="18600000" lon="19200000" rev="3458552"/>
              </a:camera>
              <a:lightRig rig="flat" dir="t"/>
            </a:scene3d>
            <a:sp3d extrusionH="44450" contourW="12700" prstMaterial="flat">
              <a:bevelT h="19050"/>
              <a:bevelB h="69850" prst="angle"/>
              <a:extrusionClr>
                <a:schemeClr val="bg1">
                  <a:lumMod val="85000"/>
                </a:schemeClr>
              </a:extrusionClr>
              <a:contourClr>
                <a:schemeClr val="bg1">
                  <a:lumMod val="8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750">
                <a:solidFill>
                  <a:schemeClr val="tx1"/>
                </a:solidFill>
                <a:latin typeface="+mj-lt"/>
              </a:endParaRPr>
            </a:p>
          </p:txBody>
        </p:sp>
        <p:grpSp>
          <p:nvGrpSpPr>
            <p:cNvPr id="53" name="Группа 52"/>
            <p:cNvGrpSpPr/>
            <p:nvPr/>
          </p:nvGrpSpPr>
          <p:grpSpPr>
            <a:xfrm>
              <a:off x="5281718" y="4491652"/>
              <a:ext cx="567817" cy="465700"/>
              <a:chOff x="1606606" y="1034738"/>
              <a:chExt cx="1415142" cy="1276686"/>
            </a:xfrm>
            <a:scene3d>
              <a:camera prst="isometricOffAxis2Top"/>
              <a:lightRig rig="threePt" dir="t"/>
            </a:scene3d>
          </p:grpSpPr>
          <p:sp>
            <p:nvSpPr>
              <p:cNvPr id="181" name="Прямоугольник 180"/>
              <p:cNvSpPr/>
              <p:nvPr/>
            </p:nvSpPr>
            <p:spPr>
              <a:xfrm rot="19239624">
                <a:off x="1823080" y="1191954"/>
                <a:ext cx="732079" cy="1119470"/>
              </a:xfrm>
              <a:prstGeom prst="rect">
                <a:avLst/>
              </a:prstGeom>
              <a:gradFill>
                <a:gsLst>
                  <a:gs pos="49000">
                    <a:srgbClr val="E5E5E5"/>
                  </a:gs>
                  <a:gs pos="52000">
                    <a:srgbClr val="C8C8C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82" name="Овал 181"/>
              <p:cNvSpPr/>
              <p:nvPr/>
            </p:nvSpPr>
            <p:spPr>
              <a:xfrm rot="19239624">
                <a:off x="1606606" y="1532270"/>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83" name="Овал 182"/>
              <p:cNvSpPr/>
              <p:nvPr/>
            </p:nvSpPr>
            <p:spPr>
              <a:xfrm rot="19239624">
                <a:off x="1684971" y="1468037"/>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84" name="Овал 183"/>
              <p:cNvSpPr/>
              <p:nvPr/>
            </p:nvSpPr>
            <p:spPr>
              <a:xfrm rot="19239624">
                <a:off x="1824620" y="135357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85" name="Овал 184"/>
              <p:cNvSpPr/>
              <p:nvPr/>
            </p:nvSpPr>
            <p:spPr>
              <a:xfrm rot="19239624">
                <a:off x="1991539" y="1216755"/>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86" name="Овал 185"/>
              <p:cNvSpPr/>
              <p:nvPr/>
            </p:nvSpPr>
            <p:spPr>
              <a:xfrm rot="19239624">
                <a:off x="1756316" y="1409558"/>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87" name="Овал 186"/>
              <p:cNvSpPr/>
              <p:nvPr/>
            </p:nvSpPr>
            <p:spPr>
              <a:xfrm rot="19239624">
                <a:off x="2073756" y="1149367"/>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88" name="Овал 187"/>
              <p:cNvSpPr/>
              <p:nvPr/>
            </p:nvSpPr>
            <p:spPr>
              <a:xfrm rot="19239624">
                <a:off x="1899155" y="129248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89" name="Прямоугольник 188"/>
              <p:cNvSpPr/>
              <p:nvPr/>
            </p:nvSpPr>
            <p:spPr>
              <a:xfrm rot="19239624">
                <a:off x="1674093" y="1466142"/>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0" name="Прямоугольник 189"/>
              <p:cNvSpPr/>
              <p:nvPr/>
            </p:nvSpPr>
            <p:spPr>
              <a:xfrm rot="19239624">
                <a:off x="1718829" y="1522114"/>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1" name="Прямоугольник 190"/>
              <p:cNvSpPr/>
              <p:nvPr/>
            </p:nvSpPr>
            <p:spPr>
              <a:xfrm rot="19239624">
                <a:off x="1761380" y="1574026"/>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2" name="Прямоугольник 191"/>
              <p:cNvSpPr/>
              <p:nvPr/>
            </p:nvSpPr>
            <p:spPr>
              <a:xfrm rot="19239624">
                <a:off x="1805632" y="1628017"/>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3" name="Прямоугольник 192"/>
              <p:cNvSpPr/>
              <p:nvPr/>
            </p:nvSpPr>
            <p:spPr>
              <a:xfrm rot="21252832">
                <a:off x="2058009" y="1034738"/>
                <a:ext cx="732079" cy="1119470"/>
              </a:xfrm>
              <a:prstGeom prst="rect">
                <a:avLst/>
              </a:prstGeom>
              <a:gradFill>
                <a:gsLst>
                  <a:gs pos="49000">
                    <a:srgbClr val="E5E5E5"/>
                  </a:gs>
                  <a:gs pos="52000">
                    <a:srgbClr val="C8C8C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4" name="Овал 193"/>
              <p:cNvSpPr/>
              <p:nvPr/>
            </p:nvSpPr>
            <p:spPr>
              <a:xfrm rot="21252832">
                <a:off x="2035836" y="1103587"/>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5" name="Овал 194"/>
              <p:cNvSpPr/>
              <p:nvPr/>
            </p:nvSpPr>
            <p:spPr>
              <a:xfrm rot="21252832">
                <a:off x="2136653" y="1093376"/>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6" name="Овал 195"/>
              <p:cNvSpPr/>
              <p:nvPr/>
            </p:nvSpPr>
            <p:spPr>
              <a:xfrm rot="21252832">
                <a:off x="2316290" y="107517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7" name="Овал 196"/>
              <p:cNvSpPr/>
              <p:nvPr/>
            </p:nvSpPr>
            <p:spPr>
              <a:xfrm rot="21252832">
                <a:off x="2531018" y="1053412"/>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8" name="Овал 197"/>
              <p:cNvSpPr/>
              <p:nvPr/>
            </p:nvSpPr>
            <p:spPr>
              <a:xfrm rot="21252832">
                <a:off x="2228431" y="1084076"/>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99" name="Овал 198"/>
              <p:cNvSpPr/>
              <p:nvPr/>
            </p:nvSpPr>
            <p:spPr>
              <a:xfrm rot="21252832">
                <a:off x="2636782" y="104269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00" name="Овал 199"/>
              <p:cNvSpPr/>
              <p:nvPr/>
            </p:nvSpPr>
            <p:spPr>
              <a:xfrm rot="21252832">
                <a:off x="2412176" y="1065451"/>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01" name="Прямоугольник 200"/>
              <p:cNvSpPr/>
              <p:nvPr/>
            </p:nvSpPr>
            <p:spPr>
              <a:xfrm rot="21252832">
                <a:off x="2099699" y="1226214"/>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02" name="Прямоугольник 201"/>
              <p:cNvSpPr/>
              <p:nvPr/>
            </p:nvSpPr>
            <p:spPr>
              <a:xfrm rot="21252832">
                <a:off x="2106047" y="1297583"/>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03" name="Прямоугольник 202"/>
              <p:cNvSpPr/>
              <p:nvPr/>
            </p:nvSpPr>
            <p:spPr>
              <a:xfrm rot="21252832">
                <a:off x="2112812" y="1364365"/>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04" name="Прямоугольник 203"/>
              <p:cNvSpPr/>
              <p:nvPr/>
            </p:nvSpPr>
            <p:spPr>
              <a:xfrm rot="21252832">
                <a:off x="2119849" y="1433820"/>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05" name="Скругленный прямоугольник 204"/>
              <p:cNvSpPr/>
              <p:nvPr/>
            </p:nvSpPr>
            <p:spPr>
              <a:xfrm rot="12991070">
                <a:off x="2935556" y="1224294"/>
                <a:ext cx="80922" cy="257702"/>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06" name="Freeform 113"/>
              <p:cNvSpPr>
                <a:spLocks/>
              </p:cNvSpPr>
              <p:nvPr/>
            </p:nvSpPr>
            <p:spPr bwMode="auto">
              <a:xfrm rot="2191070">
                <a:off x="2585131" y="1740573"/>
                <a:ext cx="81895" cy="171604"/>
              </a:xfrm>
              <a:custGeom>
                <a:avLst/>
                <a:gdLst>
                  <a:gd name="T0" fmla="*/ 709 w 709"/>
                  <a:gd name="T1" fmla="*/ 161 h 1023"/>
                  <a:gd name="T2" fmla="*/ 356 w 709"/>
                  <a:gd name="T3" fmla="*/ 1023 h 1023"/>
                  <a:gd name="T4" fmla="*/ 0 w 709"/>
                  <a:gd name="T5" fmla="*/ 161 h 1023"/>
                  <a:gd name="T6" fmla="*/ 0 w 709"/>
                  <a:gd name="T7" fmla="*/ 0 h 1023"/>
                  <a:gd name="T8" fmla="*/ 709 w 709"/>
                  <a:gd name="T9" fmla="*/ 0 h 1023"/>
                  <a:gd name="T10" fmla="*/ 709 w 709"/>
                  <a:gd name="T11" fmla="*/ 161 h 1023"/>
                </a:gdLst>
                <a:ahLst/>
                <a:cxnLst>
                  <a:cxn ang="0">
                    <a:pos x="T0" y="T1"/>
                  </a:cxn>
                  <a:cxn ang="0">
                    <a:pos x="T2" y="T3"/>
                  </a:cxn>
                  <a:cxn ang="0">
                    <a:pos x="T4" y="T5"/>
                  </a:cxn>
                  <a:cxn ang="0">
                    <a:pos x="T6" y="T7"/>
                  </a:cxn>
                  <a:cxn ang="0">
                    <a:pos x="T8" y="T9"/>
                  </a:cxn>
                  <a:cxn ang="0">
                    <a:pos x="T10" y="T11"/>
                  </a:cxn>
                </a:cxnLst>
                <a:rect l="0" t="0" r="r" b="b"/>
                <a:pathLst>
                  <a:path w="709" h="1023">
                    <a:moveTo>
                      <a:pt x="709" y="161"/>
                    </a:moveTo>
                    <a:lnTo>
                      <a:pt x="356" y="1023"/>
                    </a:lnTo>
                    <a:lnTo>
                      <a:pt x="0" y="161"/>
                    </a:lnTo>
                    <a:lnTo>
                      <a:pt x="0" y="0"/>
                    </a:lnTo>
                    <a:lnTo>
                      <a:pt x="709" y="0"/>
                    </a:lnTo>
                    <a:lnTo>
                      <a:pt x="709" y="161"/>
                    </a:lnTo>
                    <a:close/>
                  </a:path>
                </a:pathLst>
              </a:custGeom>
              <a:solidFill>
                <a:srgbClr val="DDBDA3"/>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207" name="Freeform 114"/>
              <p:cNvSpPr>
                <a:spLocks/>
              </p:cNvSpPr>
              <p:nvPr/>
            </p:nvSpPr>
            <p:spPr bwMode="auto">
              <a:xfrm rot="2191070">
                <a:off x="2772929" y="1301190"/>
                <a:ext cx="27259" cy="525084"/>
              </a:xfrm>
              <a:custGeom>
                <a:avLst/>
                <a:gdLst>
                  <a:gd name="T0" fmla="*/ 0 w 99"/>
                  <a:gd name="T1" fmla="*/ 0 h 718"/>
                  <a:gd name="T2" fmla="*/ 0 w 99"/>
                  <a:gd name="T3" fmla="*/ 673 h 718"/>
                  <a:gd name="T4" fmla="*/ 15 w 99"/>
                  <a:gd name="T5" fmla="*/ 701 h 718"/>
                  <a:gd name="T6" fmla="*/ 34 w 99"/>
                  <a:gd name="T7" fmla="*/ 713 h 718"/>
                  <a:gd name="T8" fmla="*/ 65 w 99"/>
                  <a:gd name="T9" fmla="*/ 713 h 718"/>
                  <a:gd name="T10" fmla="*/ 84 w 99"/>
                  <a:gd name="T11" fmla="*/ 701 h 718"/>
                  <a:gd name="T12" fmla="*/ 99 w 99"/>
                  <a:gd name="T13" fmla="*/ 673 h 718"/>
                  <a:gd name="T14" fmla="*/ 99 w 99"/>
                  <a:gd name="T15" fmla="*/ 0 h 718"/>
                  <a:gd name="T16" fmla="*/ 0 w 99"/>
                  <a:gd name="T1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18">
                    <a:moveTo>
                      <a:pt x="0" y="0"/>
                    </a:moveTo>
                    <a:cubicBezTo>
                      <a:pt x="0" y="673"/>
                      <a:pt x="0" y="673"/>
                      <a:pt x="0" y="673"/>
                    </a:cubicBezTo>
                    <a:cubicBezTo>
                      <a:pt x="0" y="683"/>
                      <a:pt x="7" y="695"/>
                      <a:pt x="15" y="701"/>
                    </a:cubicBezTo>
                    <a:cubicBezTo>
                      <a:pt x="34" y="713"/>
                      <a:pt x="34" y="713"/>
                      <a:pt x="34" y="713"/>
                    </a:cubicBezTo>
                    <a:cubicBezTo>
                      <a:pt x="43" y="718"/>
                      <a:pt x="56" y="718"/>
                      <a:pt x="65" y="713"/>
                    </a:cubicBezTo>
                    <a:cubicBezTo>
                      <a:pt x="84" y="701"/>
                      <a:pt x="84" y="701"/>
                      <a:pt x="84" y="701"/>
                    </a:cubicBezTo>
                    <a:cubicBezTo>
                      <a:pt x="92" y="695"/>
                      <a:pt x="99" y="683"/>
                      <a:pt x="99" y="673"/>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208" name="Freeform 115"/>
              <p:cNvSpPr>
                <a:spLocks/>
              </p:cNvSpPr>
              <p:nvPr/>
            </p:nvSpPr>
            <p:spPr bwMode="auto">
              <a:xfrm rot="2191070">
                <a:off x="2794824" y="1317449"/>
                <a:ext cx="27376" cy="525085"/>
              </a:xfrm>
              <a:custGeom>
                <a:avLst/>
                <a:gdLst>
                  <a:gd name="T0" fmla="*/ 0 w 99"/>
                  <a:gd name="T1" fmla="*/ 0 h 718"/>
                  <a:gd name="T2" fmla="*/ 0 w 99"/>
                  <a:gd name="T3" fmla="*/ 673 h 718"/>
                  <a:gd name="T4" fmla="*/ 15 w 99"/>
                  <a:gd name="T5" fmla="*/ 701 h 718"/>
                  <a:gd name="T6" fmla="*/ 34 w 99"/>
                  <a:gd name="T7" fmla="*/ 713 h 718"/>
                  <a:gd name="T8" fmla="*/ 65 w 99"/>
                  <a:gd name="T9" fmla="*/ 713 h 718"/>
                  <a:gd name="T10" fmla="*/ 84 w 99"/>
                  <a:gd name="T11" fmla="*/ 701 h 718"/>
                  <a:gd name="T12" fmla="*/ 99 w 99"/>
                  <a:gd name="T13" fmla="*/ 673 h 718"/>
                  <a:gd name="T14" fmla="*/ 99 w 99"/>
                  <a:gd name="T15" fmla="*/ 0 h 718"/>
                  <a:gd name="T16" fmla="*/ 0 w 99"/>
                  <a:gd name="T1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18">
                    <a:moveTo>
                      <a:pt x="0" y="0"/>
                    </a:moveTo>
                    <a:cubicBezTo>
                      <a:pt x="0" y="673"/>
                      <a:pt x="0" y="673"/>
                      <a:pt x="0" y="673"/>
                    </a:cubicBezTo>
                    <a:cubicBezTo>
                      <a:pt x="0" y="683"/>
                      <a:pt x="7" y="695"/>
                      <a:pt x="15" y="701"/>
                    </a:cubicBezTo>
                    <a:cubicBezTo>
                      <a:pt x="34" y="713"/>
                      <a:pt x="34" y="713"/>
                      <a:pt x="34" y="713"/>
                    </a:cubicBezTo>
                    <a:cubicBezTo>
                      <a:pt x="43" y="718"/>
                      <a:pt x="57" y="718"/>
                      <a:pt x="65" y="713"/>
                    </a:cubicBezTo>
                    <a:cubicBezTo>
                      <a:pt x="84" y="701"/>
                      <a:pt x="84" y="701"/>
                      <a:pt x="84" y="701"/>
                    </a:cubicBezTo>
                    <a:cubicBezTo>
                      <a:pt x="92" y="695"/>
                      <a:pt x="99" y="683"/>
                      <a:pt x="99" y="673"/>
                    </a:cubicBezTo>
                    <a:cubicBezTo>
                      <a:pt x="99" y="0"/>
                      <a:pt x="99" y="0"/>
                      <a:pt x="99" y="0"/>
                    </a:cubicBezTo>
                    <a:lnTo>
                      <a:pt x="0" y="0"/>
                    </a:lnTo>
                    <a:close/>
                  </a:path>
                </a:pathLst>
              </a:custGeom>
              <a:solidFill>
                <a:srgbClr val="F6D258"/>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209" name="Freeform 116"/>
              <p:cNvSpPr>
                <a:spLocks/>
              </p:cNvSpPr>
              <p:nvPr/>
            </p:nvSpPr>
            <p:spPr bwMode="auto">
              <a:xfrm rot="2191070">
                <a:off x="2816836" y="1333701"/>
                <a:ext cx="27259" cy="525085"/>
              </a:xfrm>
              <a:custGeom>
                <a:avLst/>
                <a:gdLst>
                  <a:gd name="T0" fmla="*/ 0 w 99"/>
                  <a:gd name="T1" fmla="*/ 0 h 718"/>
                  <a:gd name="T2" fmla="*/ 0 w 99"/>
                  <a:gd name="T3" fmla="*/ 673 h 718"/>
                  <a:gd name="T4" fmla="*/ 15 w 99"/>
                  <a:gd name="T5" fmla="*/ 701 h 718"/>
                  <a:gd name="T6" fmla="*/ 35 w 99"/>
                  <a:gd name="T7" fmla="*/ 713 h 718"/>
                  <a:gd name="T8" fmla="*/ 65 w 99"/>
                  <a:gd name="T9" fmla="*/ 713 h 718"/>
                  <a:gd name="T10" fmla="*/ 84 w 99"/>
                  <a:gd name="T11" fmla="*/ 701 h 718"/>
                  <a:gd name="T12" fmla="*/ 99 w 99"/>
                  <a:gd name="T13" fmla="*/ 673 h 718"/>
                  <a:gd name="T14" fmla="*/ 99 w 99"/>
                  <a:gd name="T15" fmla="*/ 0 h 718"/>
                  <a:gd name="T16" fmla="*/ 0 w 99"/>
                  <a:gd name="T1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18">
                    <a:moveTo>
                      <a:pt x="0" y="0"/>
                    </a:moveTo>
                    <a:cubicBezTo>
                      <a:pt x="0" y="673"/>
                      <a:pt x="0" y="673"/>
                      <a:pt x="0" y="673"/>
                    </a:cubicBezTo>
                    <a:cubicBezTo>
                      <a:pt x="0" y="683"/>
                      <a:pt x="7" y="695"/>
                      <a:pt x="15" y="701"/>
                    </a:cubicBezTo>
                    <a:cubicBezTo>
                      <a:pt x="35" y="713"/>
                      <a:pt x="35" y="713"/>
                      <a:pt x="35" y="713"/>
                    </a:cubicBezTo>
                    <a:cubicBezTo>
                      <a:pt x="43" y="718"/>
                      <a:pt x="57" y="718"/>
                      <a:pt x="65" y="713"/>
                    </a:cubicBezTo>
                    <a:cubicBezTo>
                      <a:pt x="84" y="701"/>
                      <a:pt x="84" y="701"/>
                      <a:pt x="84" y="701"/>
                    </a:cubicBezTo>
                    <a:cubicBezTo>
                      <a:pt x="93" y="695"/>
                      <a:pt x="99" y="683"/>
                      <a:pt x="99" y="673"/>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210" name="Freeform 117"/>
              <p:cNvSpPr>
                <a:spLocks/>
              </p:cNvSpPr>
              <p:nvPr/>
            </p:nvSpPr>
            <p:spPr bwMode="auto">
              <a:xfrm rot="2191070">
                <a:off x="2637860" y="1710588"/>
                <a:ext cx="27259" cy="71124"/>
              </a:xfrm>
              <a:custGeom>
                <a:avLst/>
                <a:gdLst>
                  <a:gd name="T0" fmla="*/ 0 w 99"/>
                  <a:gd name="T1" fmla="*/ 0 h 179"/>
                  <a:gd name="T2" fmla="*/ 0 w 99"/>
                  <a:gd name="T3" fmla="*/ 134 h 179"/>
                  <a:gd name="T4" fmla="*/ 15 w 99"/>
                  <a:gd name="T5" fmla="*/ 162 h 179"/>
                  <a:gd name="T6" fmla="*/ 34 w 99"/>
                  <a:gd name="T7" fmla="*/ 174 h 179"/>
                  <a:gd name="T8" fmla="*/ 65 w 99"/>
                  <a:gd name="T9" fmla="*/ 174 h 179"/>
                  <a:gd name="T10" fmla="*/ 84 w 99"/>
                  <a:gd name="T11" fmla="*/ 162 h 179"/>
                  <a:gd name="T12" fmla="*/ 99 w 99"/>
                  <a:gd name="T13" fmla="*/ 134 h 179"/>
                  <a:gd name="T14" fmla="*/ 99 w 99"/>
                  <a:gd name="T15" fmla="*/ 0 h 179"/>
                  <a:gd name="T16" fmla="*/ 0 w 99"/>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79">
                    <a:moveTo>
                      <a:pt x="0" y="0"/>
                    </a:moveTo>
                    <a:cubicBezTo>
                      <a:pt x="0" y="134"/>
                      <a:pt x="0" y="134"/>
                      <a:pt x="0" y="134"/>
                    </a:cubicBezTo>
                    <a:cubicBezTo>
                      <a:pt x="0" y="144"/>
                      <a:pt x="7" y="156"/>
                      <a:pt x="15" y="162"/>
                    </a:cubicBezTo>
                    <a:cubicBezTo>
                      <a:pt x="34" y="174"/>
                      <a:pt x="34" y="174"/>
                      <a:pt x="34" y="174"/>
                    </a:cubicBezTo>
                    <a:cubicBezTo>
                      <a:pt x="43" y="179"/>
                      <a:pt x="56" y="179"/>
                      <a:pt x="65" y="174"/>
                    </a:cubicBezTo>
                    <a:cubicBezTo>
                      <a:pt x="84" y="162"/>
                      <a:pt x="84" y="162"/>
                      <a:pt x="84" y="162"/>
                    </a:cubicBezTo>
                    <a:cubicBezTo>
                      <a:pt x="92" y="156"/>
                      <a:pt x="99" y="144"/>
                      <a:pt x="99" y="134"/>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211" name="Freeform 118"/>
              <p:cNvSpPr>
                <a:spLocks/>
              </p:cNvSpPr>
              <p:nvPr/>
            </p:nvSpPr>
            <p:spPr bwMode="auto">
              <a:xfrm rot="2191070">
                <a:off x="2659756" y="1726840"/>
                <a:ext cx="27376" cy="71124"/>
              </a:xfrm>
              <a:custGeom>
                <a:avLst/>
                <a:gdLst>
                  <a:gd name="T0" fmla="*/ 0 w 99"/>
                  <a:gd name="T1" fmla="*/ 0 h 179"/>
                  <a:gd name="T2" fmla="*/ 0 w 99"/>
                  <a:gd name="T3" fmla="*/ 134 h 179"/>
                  <a:gd name="T4" fmla="*/ 15 w 99"/>
                  <a:gd name="T5" fmla="*/ 162 h 179"/>
                  <a:gd name="T6" fmla="*/ 34 w 99"/>
                  <a:gd name="T7" fmla="*/ 174 h 179"/>
                  <a:gd name="T8" fmla="*/ 65 w 99"/>
                  <a:gd name="T9" fmla="*/ 174 h 179"/>
                  <a:gd name="T10" fmla="*/ 84 w 99"/>
                  <a:gd name="T11" fmla="*/ 162 h 179"/>
                  <a:gd name="T12" fmla="*/ 99 w 99"/>
                  <a:gd name="T13" fmla="*/ 134 h 179"/>
                  <a:gd name="T14" fmla="*/ 99 w 99"/>
                  <a:gd name="T15" fmla="*/ 0 h 179"/>
                  <a:gd name="T16" fmla="*/ 0 w 99"/>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79">
                    <a:moveTo>
                      <a:pt x="0" y="0"/>
                    </a:moveTo>
                    <a:cubicBezTo>
                      <a:pt x="0" y="134"/>
                      <a:pt x="0" y="134"/>
                      <a:pt x="0" y="134"/>
                    </a:cubicBezTo>
                    <a:cubicBezTo>
                      <a:pt x="0" y="144"/>
                      <a:pt x="7" y="156"/>
                      <a:pt x="15" y="162"/>
                    </a:cubicBezTo>
                    <a:cubicBezTo>
                      <a:pt x="34" y="174"/>
                      <a:pt x="34" y="174"/>
                      <a:pt x="34" y="174"/>
                    </a:cubicBezTo>
                    <a:cubicBezTo>
                      <a:pt x="43" y="179"/>
                      <a:pt x="57" y="179"/>
                      <a:pt x="65" y="174"/>
                    </a:cubicBezTo>
                    <a:cubicBezTo>
                      <a:pt x="84" y="162"/>
                      <a:pt x="84" y="162"/>
                      <a:pt x="84" y="162"/>
                    </a:cubicBezTo>
                    <a:cubicBezTo>
                      <a:pt x="92" y="156"/>
                      <a:pt x="99" y="144"/>
                      <a:pt x="99" y="134"/>
                    </a:cubicBezTo>
                    <a:cubicBezTo>
                      <a:pt x="99" y="0"/>
                      <a:pt x="99" y="0"/>
                      <a:pt x="99" y="0"/>
                    </a:cubicBezTo>
                    <a:lnTo>
                      <a:pt x="0" y="0"/>
                    </a:lnTo>
                    <a:close/>
                  </a:path>
                </a:pathLst>
              </a:custGeom>
              <a:solidFill>
                <a:srgbClr val="F6D258"/>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212" name="Freeform 119"/>
              <p:cNvSpPr>
                <a:spLocks/>
              </p:cNvSpPr>
              <p:nvPr/>
            </p:nvSpPr>
            <p:spPr bwMode="auto">
              <a:xfrm rot="2191070">
                <a:off x="2681768" y="1743099"/>
                <a:ext cx="27259" cy="71124"/>
              </a:xfrm>
              <a:custGeom>
                <a:avLst/>
                <a:gdLst>
                  <a:gd name="T0" fmla="*/ 0 w 99"/>
                  <a:gd name="T1" fmla="*/ 0 h 179"/>
                  <a:gd name="T2" fmla="*/ 0 w 99"/>
                  <a:gd name="T3" fmla="*/ 134 h 179"/>
                  <a:gd name="T4" fmla="*/ 15 w 99"/>
                  <a:gd name="T5" fmla="*/ 162 h 179"/>
                  <a:gd name="T6" fmla="*/ 35 w 99"/>
                  <a:gd name="T7" fmla="*/ 174 h 179"/>
                  <a:gd name="T8" fmla="*/ 65 w 99"/>
                  <a:gd name="T9" fmla="*/ 174 h 179"/>
                  <a:gd name="T10" fmla="*/ 84 w 99"/>
                  <a:gd name="T11" fmla="*/ 162 h 179"/>
                  <a:gd name="T12" fmla="*/ 99 w 99"/>
                  <a:gd name="T13" fmla="*/ 134 h 179"/>
                  <a:gd name="T14" fmla="*/ 99 w 99"/>
                  <a:gd name="T15" fmla="*/ 0 h 179"/>
                  <a:gd name="T16" fmla="*/ 0 w 99"/>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79">
                    <a:moveTo>
                      <a:pt x="0" y="0"/>
                    </a:moveTo>
                    <a:cubicBezTo>
                      <a:pt x="0" y="134"/>
                      <a:pt x="0" y="134"/>
                      <a:pt x="0" y="134"/>
                    </a:cubicBezTo>
                    <a:cubicBezTo>
                      <a:pt x="0" y="144"/>
                      <a:pt x="7" y="156"/>
                      <a:pt x="15" y="162"/>
                    </a:cubicBezTo>
                    <a:cubicBezTo>
                      <a:pt x="35" y="174"/>
                      <a:pt x="35" y="174"/>
                      <a:pt x="35" y="174"/>
                    </a:cubicBezTo>
                    <a:cubicBezTo>
                      <a:pt x="43" y="179"/>
                      <a:pt x="57" y="179"/>
                      <a:pt x="65" y="174"/>
                    </a:cubicBezTo>
                    <a:cubicBezTo>
                      <a:pt x="84" y="162"/>
                      <a:pt x="84" y="162"/>
                      <a:pt x="84" y="162"/>
                    </a:cubicBezTo>
                    <a:cubicBezTo>
                      <a:pt x="93" y="156"/>
                      <a:pt x="99" y="144"/>
                      <a:pt x="99" y="134"/>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213" name="Freeform 120"/>
              <p:cNvSpPr>
                <a:spLocks/>
              </p:cNvSpPr>
              <p:nvPr/>
            </p:nvSpPr>
            <p:spPr bwMode="auto">
              <a:xfrm rot="2191070">
                <a:off x="2576560" y="1848507"/>
                <a:ext cx="28065" cy="52004"/>
              </a:xfrm>
              <a:custGeom>
                <a:avLst/>
                <a:gdLst>
                  <a:gd name="T0" fmla="*/ 51 w 102"/>
                  <a:gd name="T1" fmla="*/ 0 h 131"/>
                  <a:gd name="T2" fmla="*/ 0 w 102"/>
                  <a:gd name="T3" fmla="*/ 6 h 131"/>
                  <a:gd name="T4" fmla="*/ 51 w 102"/>
                  <a:gd name="T5" fmla="*/ 131 h 131"/>
                  <a:gd name="T6" fmla="*/ 102 w 102"/>
                  <a:gd name="T7" fmla="*/ 6 h 131"/>
                  <a:gd name="T8" fmla="*/ 51 w 102"/>
                  <a:gd name="T9" fmla="*/ 0 h 131"/>
                </a:gdLst>
                <a:ahLst/>
                <a:cxnLst>
                  <a:cxn ang="0">
                    <a:pos x="T0" y="T1"/>
                  </a:cxn>
                  <a:cxn ang="0">
                    <a:pos x="T2" y="T3"/>
                  </a:cxn>
                  <a:cxn ang="0">
                    <a:pos x="T4" y="T5"/>
                  </a:cxn>
                  <a:cxn ang="0">
                    <a:pos x="T6" y="T7"/>
                  </a:cxn>
                  <a:cxn ang="0">
                    <a:pos x="T8" y="T9"/>
                  </a:cxn>
                </a:cxnLst>
                <a:rect l="0" t="0" r="r" b="b"/>
                <a:pathLst>
                  <a:path w="102" h="131">
                    <a:moveTo>
                      <a:pt x="51" y="0"/>
                    </a:moveTo>
                    <a:cubicBezTo>
                      <a:pt x="33" y="0"/>
                      <a:pt x="16" y="2"/>
                      <a:pt x="0" y="6"/>
                    </a:cubicBezTo>
                    <a:cubicBezTo>
                      <a:pt x="51" y="131"/>
                      <a:pt x="51" y="131"/>
                      <a:pt x="51" y="131"/>
                    </a:cubicBezTo>
                    <a:cubicBezTo>
                      <a:pt x="102" y="6"/>
                      <a:pt x="102" y="6"/>
                      <a:pt x="102" y="6"/>
                    </a:cubicBezTo>
                    <a:cubicBezTo>
                      <a:pt x="85" y="2"/>
                      <a:pt x="68" y="0"/>
                      <a:pt x="51" y="0"/>
                    </a:cubicBezTo>
                    <a:close/>
                  </a:path>
                </a:pathLst>
              </a:cu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214" name="Прямоугольник 213"/>
              <p:cNvSpPr/>
              <p:nvPr/>
            </p:nvSpPr>
            <p:spPr>
              <a:xfrm rot="12991070">
                <a:off x="2926468" y="1359015"/>
                <a:ext cx="81895" cy="1277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15" name="Прямоугольник 214"/>
              <p:cNvSpPr/>
              <p:nvPr/>
            </p:nvSpPr>
            <p:spPr>
              <a:xfrm rot="12991070">
                <a:off x="2933388" y="1349837"/>
                <a:ext cx="81895" cy="12773"/>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216" name="Прямоугольник 215"/>
              <p:cNvSpPr/>
              <p:nvPr/>
            </p:nvSpPr>
            <p:spPr>
              <a:xfrm rot="12991070">
                <a:off x="2939853" y="1341142"/>
                <a:ext cx="81895" cy="1277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nvGrpSpPr>
            <p:cNvPr id="54" name="Группа 53"/>
            <p:cNvGrpSpPr/>
            <p:nvPr/>
          </p:nvGrpSpPr>
          <p:grpSpPr>
            <a:xfrm>
              <a:off x="5752872" y="4372646"/>
              <a:ext cx="758937" cy="1846991"/>
              <a:chOff x="6528950" y="3215529"/>
              <a:chExt cx="659494" cy="1604976"/>
            </a:xfrm>
          </p:grpSpPr>
          <p:grpSp>
            <p:nvGrpSpPr>
              <p:cNvPr id="156" name="Группа 155"/>
              <p:cNvGrpSpPr/>
              <p:nvPr/>
            </p:nvGrpSpPr>
            <p:grpSpPr>
              <a:xfrm>
                <a:off x="6739369" y="3215529"/>
                <a:ext cx="213726" cy="293658"/>
                <a:chOff x="6448749" y="2582383"/>
                <a:chExt cx="400187" cy="549850"/>
              </a:xfrm>
            </p:grpSpPr>
            <p:sp>
              <p:nvSpPr>
                <p:cNvPr id="178" name="Скругленный прямоугольник 321"/>
                <p:cNvSpPr/>
                <p:nvPr/>
              </p:nvSpPr>
              <p:spPr>
                <a:xfrm rot="20511505">
                  <a:off x="6528106" y="2761390"/>
                  <a:ext cx="209549" cy="335714"/>
                </a:xfrm>
                <a:custGeom>
                  <a:avLst/>
                  <a:gdLst>
                    <a:gd name="connsiteX0" fmla="*/ 0 w 209550"/>
                    <a:gd name="connsiteY0" fmla="*/ 34926 h 319401"/>
                    <a:gd name="connsiteX1" fmla="*/ 34926 w 209550"/>
                    <a:gd name="connsiteY1" fmla="*/ 0 h 319401"/>
                    <a:gd name="connsiteX2" fmla="*/ 174624 w 209550"/>
                    <a:gd name="connsiteY2" fmla="*/ 0 h 319401"/>
                    <a:gd name="connsiteX3" fmla="*/ 209550 w 209550"/>
                    <a:gd name="connsiteY3" fmla="*/ 34926 h 319401"/>
                    <a:gd name="connsiteX4" fmla="*/ 209550 w 209550"/>
                    <a:gd name="connsiteY4" fmla="*/ 284475 h 319401"/>
                    <a:gd name="connsiteX5" fmla="*/ 174624 w 209550"/>
                    <a:gd name="connsiteY5" fmla="*/ 319401 h 319401"/>
                    <a:gd name="connsiteX6" fmla="*/ 34926 w 209550"/>
                    <a:gd name="connsiteY6" fmla="*/ 319401 h 319401"/>
                    <a:gd name="connsiteX7" fmla="*/ 0 w 209550"/>
                    <a:gd name="connsiteY7" fmla="*/ 284475 h 319401"/>
                    <a:gd name="connsiteX8" fmla="*/ 0 w 209550"/>
                    <a:gd name="connsiteY8" fmla="*/ 34926 h 319401"/>
                    <a:gd name="connsiteX0" fmla="*/ 0 w 209550"/>
                    <a:gd name="connsiteY0" fmla="*/ 34926 h 335713"/>
                    <a:gd name="connsiteX1" fmla="*/ 34926 w 209550"/>
                    <a:gd name="connsiteY1" fmla="*/ 0 h 335713"/>
                    <a:gd name="connsiteX2" fmla="*/ 174624 w 209550"/>
                    <a:gd name="connsiteY2" fmla="*/ 0 h 335713"/>
                    <a:gd name="connsiteX3" fmla="*/ 209550 w 209550"/>
                    <a:gd name="connsiteY3" fmla="*/ 34926 h 335713"/>
                    <a:gd name="connsiteX4" fmla="*/ 209550 w 209550"/>
                    <a:gd name="connsiteY4" fmla="*/ 284475 h 335713"/>
                    <a:gd name="connsiteX5" fmla="*/ 174624 w 209550"/>
                    <a:gd name="connsiteY5" fmla="*/ 319401 h 335713"/>
                    <a:gd name="connsiteX6" fmla="*/ 84709 w 209550"/>
                    <a:gd name="connsiteY6" fmla="*/ 335713 h 335713"/>
                    <a:gd name="connsiteX7" fmla="*/ 0 w 209550"/>
                    <a:gd name="connsiteY7" fmla="*/ 284475 h 335713"/>
                    <a:gd name="connsiteX8" fmla="*/ 0 w 209550"/>
                    <a:gd name="connsiteY8" fmla="*/ 34926 h 335713"/>
                    <a:gd name="connsiteX0" fmla="*/ 0 w 209550"/>
                    <a:gd name="connsiteY0" fmla="*/ 34926 h 335713"/>
                    <a:gd name="connsiteX1" fmla="*/ 34926 w 209550"/>
                    <a:gd name="connsiteY1" fmla="*/ 0 h 335713"/>
                    <a:gd name="connsiteX2" fmla="*/ 174624 w 209550"/>
                    <a:gd name="connsiteY2" fmla="*/ 0 h 335713"/>
                    <a:gd name="connsiteX3" fmla="*/ 209550 w 209550"/>
                    <a:gd name="connsiteY3" fmla="*/ 34926 h 335713"/>
                    <a:gd name="connsiteX4" fmla="*/ 209550 w 209550"/>
                    <a:gd name="connsiteY4" fmla="*/ 284475 h 335713"/>
                    <a:gd name="connsiteX5" fmla="*/ 174624 w 209550"/>
                    <a:gd name="connsiteY5" fmla="*/ 319401 h 335713"/>
                    <a:gd name="connsiteX6" fmla="*/ 84709 w 209550"/>
                    <a:gd name="connsiteY6" fmla="*/ 335713 h 335713"/>
                    <a:gd name="connsiteX7" fmla="*/ 36091 w 209550"/>
                    <a:gd name="connsiteY7" fmla="*/ 273748 h 335713"/>
                    <a:gd name="connsiteX8" fmla="*/ 0 w 209550"/>
                    <a:gd name="connsiteY8" fmla="*/ 34926 h 335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550" h="335713">
                      <a:moveTo>
                        <a:pt x="0" y="34926"/>
                      </a:moveTo>
                      <a:cubicBezTo>
                        <a:pt x="0" y="15637"/>
                        <a:pt x="15637" y="0"/>
                        <a:pt x="34926" y="0"/>
                      </a:cubicBezTo>
                      <a:lnTo>
                        <a:pt x="174624" y="0"/>
                      </a:lnTo>
                      <a:cubicBezTo>
                        <a:pt x="193913" y="0"/>
                        <a:pt x="209550" y="15637"/>
                        <a:pt x="209550" y="34926"/>
                      </a:cubicBezTo>
                      <a:lnTo>
                        <a:pt x="209550" y="284475"/>
                      </a:lnTo>
                      <a:cubicBezTo>
                        <a:pt x="209550" y="303764"/>
                        <a:pt x="193913" y="319401"/>
                        <a:pt x="174624" y="319401"/>
                      </a:cubicBezTo>
                      <a:cubicBezTo>
                        <a:pt x="128058" y="319401"/>
                        <a:pt x="131275" y="335713"/>
                        <a:pt x="84709" y="335713"/>
                      </a:cubicBezTo>
                      <a:cubicBezTo>
                        <a:pt x="65420" y="335713"/>
                        <a:pt x="36091" y="293037"/>
                        <a:pt x="36091" y="273748"/>
                      </a:cubicBezTo>
                      <a:lnTo>
                        <a:pt x="0" y="34926"/>
                      </a:lnTo>
                      <a:close/>
                    </a:path>
                  </a:pathLst>
                </a:custGeom>
                <a:solidFill>
                  <a:srgbClr val="F8B3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79" name="Скругленный прямоугольник 178"/>
                <p:cNvSpPr/>
                <p:nvPr/>
              </p:nvSpPr>
              <p:spPr>
                <a:xfrm rot="21198533">
                  <a:off x="6621492" y="2812832"/>
                  <a:ext cx="209549" cy="319401"/>
                </a:xfrm>
                <a:prstGeom prst="roundRect">
                  <a:avLst/>
                </a:prstGeom>
                <a:solidFill>
                  <a:srgbClr val="FBD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80" name="Полилиния 179"/>
                <p:cNvSpPr/>
                <p:nvPr/>
              </p:nvSpPr>
              <p:spPr>
                <a:xfrm>
                  <a:off x="6448749" y="2582383"/>
                  <a:ext cx="400187" cy="400816"/>
                </a:xfrm>
                <a:custGeom>
                  <a:avLst/>
                  <a:gdLst>
                    <a:gd name="connsiteX0" fmla="*/ 225608 w 464480"/>
                    <a:gd name="connsiteY0" fmla="*/ 0 h 399818"/>
                    <a:gd name="connsiteX1" fmla="*/ 464480 w 464480"/>
                    <a:gd name="connsiteY1" fmla="*/ 221518 h 399818"/>
                    <a:gd name="connsiteX2" fmla="*/ 460398 w 464480"/>
                    <a:gd name="connsiteY2" fmla="*/ 259072 h 399818"/>
                    <a:gd name="connsiteX3" fmla="*/ 422866 w 464480"/>
                    <a:gd name="connsiteY3" fmla="*/ 244072 h 399818"/>
                    <a:gd name="connsiteX4" fmla="*/ 319756 w 464480"/>
                    <a:gd name="connsiteY4" fmla="*/ 379365 h 399818"/>
                    <a:gd name="connsiteX5" fmla="*/ 317670 w 464480"/>
                    <a:gd name="connsiteY5" fmla="*/ 399818 h 399818"/>
                    <a:gd name="connsiteX6" fmla="*/ 313444 w 464480"/>
                    <a:gd name="connsiteY6" fmla="*/ 387410 h 399818"/>
                    <a:gd name="connsiteX7" fmla="*/ 234316 w 464480"/>
                    <a:gd name="connsiteY7" fmla="*/ 322529 h 399818"/>
                    <a:gd name="connsiteX8" fmla="*/ 190759 w 464480"/>
                    <a:gd name="connsiteY8" fmla="*/ 339937 h 399818"/>
                    <a:gd name="connsiteX9" fmla="*/ 173375 w 464480"/>
                    <a:gd name="connsiteY9" fmla="*/ 363137 h 399818"/>
                    <a:gd name="connsiteX10" fmla="*/ 163418 w 464480"/>
                    <a:gd name="connsiteY10" fmla="*/ 306214 h 399818"/>
                    <a:gd name="connsiteX11" fmla="*/ 122778 w 464480"/>
                    <a:gd name="connsiteY11" fmla="*/ 241333 h 399818"/>
                    <a:gd name="connsiteX12" fmla="*/ 82139 w 464480"/>
                    <a:gd name="connsiteY12" fmla="*/ 306214 h 399818"/>
                    <a:gd name="connsiteX13" fmla="*/ 78026 w 464480"/>
                    <a:gd name="connsiteY13" fmla="*/ 329725 h 399818"/>
                    <a:gd name="connsiteX14" fmla="*/ 75563 w 464480"/>
                    <a:gd name="connsiteY14" fmla="*/ 319070 h 399818"/>
                    <a:gd name="connsiteX15" fmla="*/ 16169 w 464480"/>
                    <a:gd name="connsiteY15" fmla="*/ 173156 h 399818"/>
                    <a:gd name="connsiteX16" fmla="*/ 0 w 464480"/>
                    <a:gd name="connsiteY16" fmla="*/ 151748 h 399818"/>
                    <a:gd name="connsiteX17" fmla="*/ 5508 w 464480"/>
                    <a:gd name="connsiteY17" fmla="*/ 135293 h 399818"/>
                    <a:gd name="connsiteX18" fmla="*/ 225608 w 464480"/>
                    <a:gd name="connsiteY18" fmla="*/ 0 h 399818"/>
                    <a:gd name="connsiteX0" fmla="*/ 225608 w 464480"/>
                    <a:gd name="connsiteY0" fmla="*/ 1264 h 401082"/>
                    <a:gd name="connsiteX1" fmla="*/ 315052 w 464480"/>
                    <a:gd name="connsiteY1" fmla="*/ 110801 h 401082"/>
                    <a:gd name="connsiteX2" fmla="*/ 464480 w 464480"/>
                    <a:gd name="connsiteY2" fmla="*/ 222782 h 401082"/>
                    <a:gd name="connsiteX3" fmla="*/ 460398 w 464480"/>
                    <a:gd name="connsiteY3" fmla="*/ 260336 h 401082"/>
                    <a:gd name="connsiteX4" fmla="*/ 422866 w 464480"/>
                    <a:gd name="connsiteY4" fmla="*/ 245336 h 401082"/>
                    <a:gd name="connsiteX5" fmla="*/ 319756 w 464480"/>
                    <a:gd name="connsiteY5" fmla="*/ 380629 h 401082"/>
                    <a:gd name="connsiteX6" fmla="*/ 317670 w 464480"/>
                    <a:gd name="connsiteY6" fmla="*/ 401082 h 401082"/>
                    <a:gd name="connsiteX7" fmla="*/ 313444 w 464480"/>
                    <a:gd name="connsiteY7" fmla="*/ 388674 h 401082"/>
                    <a:gd name="connsiteX8" fmla="*/ 234316 w 464480"/>
                    <a:gd name="connsiteY8" fmla="*/ 323793 h 401082"/>
                    <a:gd name="connsiteX9" fmla="*/ 190759 w 464480"/>
                    <a:gd name="connsiteY9" fmla="*/ 341201 h 401082"/>
                    <a:gd name="connsiteX10" fmla="*/ 173375 w 464480"/>
                    <a:gd name="connsiteY10" fmla="*/ 364401 h 401082"/>
                    <a:gd name="connsiteX11" fmla="*/ 163418 w 464480"/>
                    <a:gd name="connsiteY11" fmla="*/ 307478 h 401082"/>
                    <a:gd name="connsiteX12" fmla="*/ 122778 w 464480"/>
                    <a:gd name="connsiteY12" fmla="*/ 242597 h 401082"/>
                    <a:gd name="connsiteX13" fmla="*/ 82139 w 464480"/>
                    <a:gd name="connsiteY13" fmla="*/ 307478 h 401082"/>
                    <a:gd name="connsiteX14" fmla="*/ 78026 w 464480"/>
                    <a:gd name="connsiteY14" fmla="*/ 330989 h 401082"/>
                    <a:gd name="connsiteX15" fmla="*/ 75563 w 464480"/>
                    <a:gd name="connsiteY15" fmla="*/ 320334 h 401082"/>
                    <a:gd name="connsiteX16" fmla="*/ 16169 w 464480"/>
                    <a:gd name="connsiteY16" fmla="*/ 174420 h 401082"/>
                    <a:gd name="connsiteX17" fmla="*/ 0 w 464480"/>
                    <a:gd name="connsiteY17" fmla="*/ 153012 h 401082"/>
                    <a:gd name="connsiteX18" fmla="*/ 5508 w 464480"/>
                    <a:gd name="connsiteY18" fmla="*/ 136557 h 401082"/>
                    <a:gd name="connsiteX19" fmla="*/ 225608 w 464480"/>
                    <a:gd name="connsiteY19" fmla="*/ 1264 h 401082"/>
                    <a:gd name="connsiteX0" fmla="*/ 225608 w 464480"/>
                    <a:gd name="connsiteY0" fmla="*/ 998 h 400816"/>
                    <a:gd name="connsiteX1" fmla="*/ 334102 w 464480"/>
                    <a:gd name="connsiteY1" fmla="*/ 65291 h 400816"/>
                    <a:gd name="connsiteX2" fmla="*/ 315052 w 464480"/>
                    <a:gd name="connsiteY2" fmla="*/ 110535 h 400816"/>
                    <a:gd name="connsiteX3" fmla="*/ 464480 w 464480"/>
                    <a:gd name="connsiteY3" fmla="*/ 222516 h 400816"/>
                    <a:gd name="connsiteX4" fmla="*/ 460398 w 464480"/>
                    <a:gd name="connsiteY4" fmla="*/ 260070 h 400816"/>
                    <a:gd name="connsiteX5" fmla="*/ 422866 w 464480"/>
                    <a:gd name="connsiteY5" fmla="*/ 245070 h 400816"/>
                    <a:gd name="connsiteX6" fmla="*/ 319756 w 464480"/>
                    <a:gd name="connsiteY6" fmla="*/ 380363 h 400816"/>
                    <a:gd name="connsiteX7" fmla="*/ 317670 w 464480"/>
                    <a:gd name="connsiteY7" fmla="*/ 400816 h 400816"/>
                    <a:gd name="connsiteX8" fmla="*/ 313444 w 464480"/>
                    <a:gd name="connsiteY8" fmla="*/ 388408 h 400816"/>
                    <a:gd name="connsiteX9" fmla="*/ 234316 w 464480"/>
                    <a:gd name="connsiteY9" fmla="*/ 323527 h 400816"/>
                    <a:gd name="connsiteX10" fmla="*/ 190759 w 464480"/>
                    <a:gd name="connsiteY10" fmla="*/ 340935 h 400816"/>
                    <a:gd name="connsiteX11" fmla="*/ 173375 w 464480"/>
                    <a:gd name="connsiteY11" fmla="*/ 364135 h 400816"/>
                    <a:gd name="connsiteX12" fmla="*/ 163418 w 464480"/>
                    <a:gd name="connsiteY12" fmla="*/ 307212 h 400816"/>
                    <a:gd name="connsiteX13" fmla="*/ 122778 w 464480"/>
                    <a:gd name="connsiteY13" fmla="*/ 242331 h 400816"/>
                    <a:gd name="connsiteX14" fmla="*/ 82139 w 464480"/>
                    <a:gd name="connsiteY14" fmla="*/ 307212 h 400816"/>
                    <a:gd name="connsiteX15" fmla="*/ 78026 w 464480"/>
                    <a:gd name="connsiteY15" fmla="*/ 330723 h 400816"/>
                    <a:gd name="connsiteX16" fmla="*/ 75563 w 464480"/>
                    <a:gd name="connsiteY16" fmla="*/ 320068 h 400816"/>
                    <a:gd name="connsiteX17" fmla="*/ 16169 w 464480"/>
                    <a:gd name="connsiteY17" fmla="*/ 174154 h 400816"/>
                    <a:gd name="connsiteX18" fmla="*/ 0 w 464480"/>
                    <a:gd name="connsiteY18" fmla="*/ 152746 h 400816"/>
                    <a:gd name="connsiteX19" fmla="*/ 5508 w 464480"/>
                    <a:gd name="connsiteY19" fmla="*/ 136291 h 400816"/>
                    <a:gd name="connsiteX20" fmla="*/ 225608 w 464480"/>
                    <a:gd name="connsiteY20" fmla="*/ 998 h 400816"/>
                    <a:gd name="connsiteX0" fmla="*/ 225608 w 464480"/>
                    <a:gd name="connsiteY0" fmla="*/ 998 h 400816"/>
                    <a:gd name="connsiteX1" fmla="*/ 334102 w 464480"/>
                    <a:gd name="connsiteY1" fmla="*/ 65291 h 400816"/>
                    <a:gd name="connsiteX2" fmla="*/ 362677 w 464480"/>
                    <a:gd name="connsiteY2" fmla="*/ 108154 h 400816"/>
                    <a:gd name="connsiteX3" fmla="*/ 464480 w 464480"/>
                    <a:gd name="connsiteY3" fmla="*/ 222516 h 400816"/>
                    <a:gd name="connsiteX4" fmla="*/ 460398 w 464480"/>
                    <a:gd name="connsiteY4" fmla="*/ 260070 h 400816"/>
                    <a:gd name="connsiteX5" fmla="*/ 422866 w 464480"/>
                    <a:gd name="connsiteY5" fmla="*/ 245070 h 400816"/>
                    <a:gd name="connsiteX6" fmla="*/ 319756 w 464480"/>
                    <a:gd name="connsiteY6" fmla="*/ 380363 h 400816"/>
                    <a:gd name="connsiteX7" fmla="*/ 317670 w 464480"/>
                    <a:gd name="connsiteY7" fmla="*/ 400816 h 400816"/>
                    <a:gd name="connsiteX8" fmla="*/ 313444 w 464480"/>
                    <a:gd name="connsiteY8" fmla="*/ 388408 h 400816"/>
                    <a:gd name="connsiteX9" fmla="*/ 234316 w 464480"/>
                    <a:gd name="connsiteY9" fmla="*/ 323527 h 400816"/>
                    <a:gd name="connsiteX10" fmla="*/ 190759 w 464480"/>
                    <a:gd name="connsiteY10" fmla="*/ 340935 h 400816"/>
                    <a:gd name="connsiteX11" fmla="*/ 173375 w 464480"/>
                    <a:gd name="connsiteY11" fmla="*/ 364135 h 400816"/>
                    <a:gd name="connsiteX12" fmla="*/ 163418 w 464480"/>
                    <a:gd name="connsiteY12" fmla="*/ 307212 h 400816"/>
                    <a:gd name="connsiteX13" fmla="*/ 122778 w 464480"/>
                    <a:gd name="connsiteY13" fmla="*/ 242331 h 400816"/>
                    <a:gd name="connsiteX14" fmla="*/ 82139 w 464480"/>
                    <a:gd name="connsiteY14" fmla="*/ 307212 h 400816"/>
                    <a:gd name="connsiteX15" fmla="*/ 78026 w 464480"/>
                    <a:gd name="connsiteY15" fmla="*/ 330723 h 400816"/>
                    <a:gd name="connsiteX16" fmla="*/ 75563 w 464480"/>
                    <a:gd name="connsiteY16" fmla="*/ 320068 h 400816"/>
                    <a:gd name="connsiteX17" fmla="*/ 16169 w 464480"/>
                    <a:gd name="connsiteY17" fmla="*/ 174154 h 400816"/>
                    <a:gd name="connsiteX18" fmla="*/ 0 w 464480"/>
                    <a:gd name="connsiteY18" fmla="*/ 152746 h 400816"/>
                    <a:gd name="connsiteX19" fmla="*/ 5508 w 464480"/>
                    <a:gd name="connsiteY19" fmla="*/ 136291 h 400816"/>
                    <a:gd name="connsiteX20" fmla="*/ 225608 w 464480"/>
                    <a:gd name="connsiteY20" fmla="*/ 998 h 400816"/>
                    <a:gd name="connsiteX0" fmla="*/ 225608 w 460398"/>
                    <a:gd name="connsiteY0" fmla="*/ 998 h 400816"/>
                    <a:gd name="connsiteX1" fmla="*/ 334102 w 460398"/>
                    <a:gd name="connsiteY1" fmla="*/ 65291 h 400816"/>
                    <a:gd name="connsiteX2" fmla="*/ 362677 w 460398"/>
                    <a:gd name="connsiteY2" fmla="*/ 108154 h 400816"/>
                    <a:gd name="connsiteX3" fmla="*/ 340655 w 460398"/>
                    <a:gd name="connsiteY3" fmla="*/ 189178 h 400816"/>
                    <a:gd name="connsiteX4" fmla="*/ 460398 w 460398"/>
                    <a:gd name="connsiteY4" fmla="*/ 260070 h 400816"/>
                    <a:gd name="connsiteX5" fmla="*/ 422866 w 460398"/>
                    <a:gd name="connsiteY5" fmla="*/ 245070 h 400816"/>
                    <a:gd name="connsiteX6" fmla="*/ 319756 w 460398"/>
                    <a:gd name="connsiteY6" fmla="*/ 380363 h 400816"/>
                    <a:gd name="connsiteX7" fmla="*/ 317670 w 460398"/>
                    <a:gd name="connsiteY7" fmla="*/ 400816 h 400816"/>
                    <a:gd name="connsiteX8" fmla="*/ 313444 w 460398"/>
                    <a:gd name="connsiteY8" fmla="*/ 388408 h 400816"/>
                    <a:gd name="connsiteX9" fmla="*/ 234316 w 460398"/>
                    <a:gd name="connsiteY9" fmla="*/ 323527 h 400816"/>
                    <a:gd name="connsiteX10" fmla="*/ 190759 w 460398"/>
                    <a:gd name="connsiteY10" fmla="*/ 340935 h 400816"/>
                    <a:gd name="connsiteX11" fmla="*/ 173375 w 460398"/>
                    <a:gd name="connsiteY11" fmla="*/ 364135 h 400816"/>
                    <a:gd name="connsiteX12" fmla="*/ 163418 w 460398"/>
                    <a:gd name="connsiteY12" fmla="*/ 307212 h 400816"/>
                    <a:gd name="connsiteX13" fmla="*/ 122778 w 460398"/>
                    <a:gd name="connsiteY13" fmla="*/ 242331 h 400816"/>
                    <a:gd name="connsiteX14" fmla="*/ 82139 w 460398"/>
                    <a:gd name="connsiteY14" fmla="*/ 307212 h 400816"/>
                    <a:gd name="connsiteX15" fmla="*/ 78026 w 460398"/>
                    <a:gd name="connsiteY15" fmla="*/ 330723 h 400816"/>
                    <a:gd name="connsiteX16" fmla="*/ 75563 w 460398"/>
                    <a:gd name="connsiteY16" fmla="*/ 320068 h 400816"/>
                    <a:gd name="connsiteX17" fmla="*/ 16169 w 460398"/>
                    <a:gd name="connsiteY17" fmla="*/ 174154 h 400816"/>
                    <a:gd name="connsiteX18" fmla="*/ 0 w 460398"/>
                    <a:gd name="connsiteY18" fmla="*/ 152746 h 400816"/>
                    <a:gd name="connsiteX19" fmla="*/ 5508 w 460398"/>
                    <a:gd name="connsiteY19" fmla="*/ 136291 h 400816"/>
                    <a:gd name="connsiteX20" fmla="*/ 225608 w 460398"/>
                    <a:gd name="connsiteY20" fmla="*/ 998 h 400816"/>
                    <a:gd name="connsiteX0" fmla="*/ 225608 w 422866"/>
                    <a:gd name="connsiteY0" fmla="*/ 998 h 400816"/>
                    <a:gd name="connsiteX1" fmla="*/ 334102 w 422866"/>
                    <a:gd name="connsiteY1" fmla="*/ 65291 h 400816"/>
                    <a:gd name="connsiteX2" fmla="*/ 362677 w 422866"/>
                    <a:gd name="connsiteY2" fmla="*/ 108154 h 400816"/>
                    <a:gd name="connsiteX3" fmla="*/ 340655 w 422866"/>
                    <a:gd name="connsiteY3" fmla="*/ 189178 h 400816"/>
                    <a:gd name="connsiteX4" fmla="*/ 312761 w 422866"/>
                    <a:gd name="connsiteY4" fmla="*/ 245783 h 400816"/>
                    <a:gd name="connsiteX5" fmla="*/ 422866 w 422866"/>
                    <a:gd name="connsiteY5" fmla="*/ 245070 h 400816"/>
                    <a:gd name="connsiteX6" fmla="*/ 319756 w 422866"/>
                    <a:gd name="connsiteY6" fmla="*/ 380363 h 400816"/>
                    <a:gd name="connsiteX7" fmla="*/ 317670 w 422866"/>
                    <a:gd name="connsiteY7" fmla="*/ 400816 h 400816"/>
                    <a:gd name="connsiteX8" fmla="*/ 313444 w 422866"/>
                    <a:gd name="connsiteY8" fmla="*/ 388408 h 400816"/>
                    <a:gd name="connsiteX9" fmla="*/ 234316 w 422866"/>
                    <a:gd name="connsiteY9" fmla="*/ 323527 h 400816"/>
                    <a:gd name="connsiteX10" fmla="*/ 190759 w 422866"/>
                    <a:gd name="connsiteY10" fmla="*/ 340935 h 400816"/>
                    <a:gd name="connsiteX11" fmla="*/ 173375 w 422866"/>
                    <a:gd name="connsiteY11" fmla="*/ 364135 h 400816"/>
                    <a:gd name="connsiteX12" fmla="*/ 163418 w 422866"/>
                    <a:gd name="connsiteY12" fmla="*/ 307212 h 400816"/>
                    <a:gd name="connsiteX13" fmla="*/ 122778 w 422866"/>
                    <a:gd name="connsiteY13" fmla="*/ 242331 h 400816"/>
                    <a:gd name="connsiteX14" fmla="*/ 82139 w 422866"/>
                    <a:gd name="connsiteY14" fmla="*/ 307212 h 400816"/>
                    <a:gd name="connsiteX15" fmla="*/ 78026 w 422866"/>
                    <a:gd name="connsiteY15" fmla="*/ 330723 h 400816"/>
                    <a:gd name="connsiteX16" fmla="*/ 75563 w 422866"/>
                    <a:gd name="connsiteY16" fmla="*/ 320068 h 400816"/>
                    <a:gd name="connsiteX17" fmla="*/ 16169 w 422866"/>
                    <a:gd name="connsiteY17" fmla="*/ 174154 h 400816"/>
                    <a:gd name="connsiteX18" fmla="*/ 0 w 422866"/>
                    <a:gd name="connsiteY18" fmla="*/ 152746 h 400816"/>
                    <a:gd name="connsiteX19" fmla="*/ 5508 w 422866"/>
                    <a:gd name="connsiteY19" fmla="*/ 136291 h 400816"/>
                    <a:gd name="connsiteX20" fmla="*/ 225608 w 422866"/>
                    <a:gd name="connsiteY20" fmla="*/ 998 h 400816"/>
                    <a:gd name="connsiteX0" fmla="*/ 225608 w 370530"/>
                    <a:gd name="connsiteY0" fmla="*/ 998 h 400816"/>
                    <a:gd name="connsiteX1" fmla="*/ 334102 w 370530"/>
                    <a:gd name="connsiteY1" fmla="*/ 65291 h 400816"/>
                    <a:gd name="connsiteX2" fmla="*/ 362677 w 370530"/>
                    <a:gd name="connsiteY2" fmla="*/ 108154 h 400816"/>
                    <a:gd name="connsiteX3" fmla="*/ 340655 w 370530"/>
                    <a:gd name="connsiteY3" fmla="*/ 189178 h 400816"/>
                    <a:gd name="connsiteX4" fmla="*/ 312761 w 370530"/>
                    <a:gd name="connsiteY4" fmla="*/ 245783 h 400816"/>
                    <a:gd name="connsiteX5" fmla="*/ 315710 w 370530"/>
                    <a:gd name="connsiteY5" fmla="*/ 297458 h 400816"/>
                    <a:gd name="connsiteX6" fmla="*/ 319756 w 370530"/>
                    <a:gd name="connsiteY6" fmla="*/ 380363 h 400816"/>
                    <a:gd name="connsiteX7" fmla="*/ 317670 w 370530"/>
                    <a:gd name="connsiteY7" fmla="*/ 400816 h 400816"/>
                    <a:gd name="connsiteX8" fmla="*/ 313444 w 370530"/>
                    <a:gd name="connsiteY8" fmla="*/ 388408 h 400816"/>
                    <a:gd name="connsiteX9" fmla="*/ 234316 w 370530"/>
                    <a:gd name="connsiteY9" fmla="*/ 323527 h 400816"/>
                    <a:gd name="connsiteX10" fmla="*/ 190759 w 370530"/>
                    <a:gd name="connsiteY10" fmla="*/ 340935 h 400816"/>
                    <a:gd name="connsiteX11" fmla="*/ 173375 w 370530"/>
                    <a:gd name="connsiteY11" fmla="*/ 364135 h 400816"/>
                    <a:gd name="connsiteX12" fmla="*/ 163418 w 370530"/>
                    <a:gd name="connsiteY12" fmla="*/ 307212 h 400816"/>
                    <a:gd name="connsiteX13" fmla="*/ 122778 w 370530"/>
                    <a:gd name="connsiteY13" fmla="*/ 242331 h 400816"/>
                    <a:gd name="connsiteX14" fmla="*/ 82139 w 370530"/>
                    <a:gd name="connsiteY14" fmla="*/ 307212 h 400816"/>
                    <a:gd name="connsiteX15" fmla="*/ 78026 w 370530"/>
                    <a:gd name="connsiteY15" fmla="*/ 330723 h 400816"/>
                    <a:gd name="connsiteX16" fmla="*/ 75563 w 370530"/>
                    <a:gd name="connsiteY16" fmla="*/ 320068 h 400816"/>
                    <a:gd name="connsiteX17" fmla="*/ 16169 w 370530"/>
                    <a:gd name="connsiteY17" fmla="*/ 174154 h 400816"/>
                    <a:gd name="connsiteX18" fmla="*/ 0 w 370530"/>
                    <a:gd name="connsiteY18" fmla="*/ 152746 h 400816"/>
                    <a:gd name="connsiteX19" fmla="*/ 5508 w 370530"/>
                    <a:gd name="connsiteY19" fmla="*/ 136291 h 400816"/>
                    <a:gd name="connsiteX20" fmla="*/ 225608 w 370530"/>
                    <a:gd name="connsiteY20" fmla="*/ 998 h 400816"/>
                    <a:gd name="connsiteX0" fmla="*/ 225608 w 400187"/>
                    <a:gd name="connsiteY0" fmla="*/ 998 h 400816"/>
                    <a:gd name="connsiteX1" fmla="*/ 334102 w 400187"/>
                    <a:gd name="connsiteY1" fmla="*/ 65291 h 400816"/>
                    <a:gd name="connsiteX2" fmla="*/ 362677 w 400187"/>
                    <a:gd name="connsiteY2" fmla="*/ 108154 h 400816"/>
                    <a:gd name="connsiteX3" fmla="*/ 400187 w 400187"/>
                    <a:gd name="connsiteY3" fmla="*/ 282047 h 400816"/>
                    <a:gd name="connsiteX4" fmla="*/ 312761 w 400187"/>
                    <a:gd name="connsiteY4" fmla="*/ 245783 h 400816"/>
                    <a:gd name="connsiteX5" fmla="*/ 315710 w 400187"/>
                    <a:gd name="connsiteY5" fmla="*/ 297458 h 400816"/>
                    <a:gd name="connsiteX6" fmla="*/ 319756 w 400187"/>
                    <a:gd name="connsiteY6" fmla="*/ 380363 h 400816"/>
                    <a:gd name="connsiteX7" fmla="*/ 317670 w 400187"/>
                    <a:gd name="connsiteY7" fmla="*/ 400816 h 400816"/>
                    <a:gd name="connsiteX8" fmla="*/ 313444 w 400187"/>
                    <a:gd name="connsiteY8" fmla="*/ 388408 h 400816"/>
                    <a:gd name="connsiteX9" fmla="*/ 234316 w 400187"/>
                    <a:gd name="connsiteY9" fmla="*/ 323527 h 400816"/>
                    <a:gd name="connsiteX10" fmla="*/ 190759 w 400187"/>
                    <a:gd name="connsiteY10" fmla="*/ 340935 h 400816"/>
                    <a:gd name="connsiteX11" fmla="*/ 173375 w 400187"/>
                    <a:gd name="connsiteY11" fmla="*/ 364135 h 400816"/>
                    <a:gd name="connsiteX12" fmla="*/ 163418 w 400187"/>
                    <a:gd name="connsiteY12" fmla="*/ 307212 h 400816"/>
                    <a:gd name="connsiteX13" fmla="*/ 122778 w 400187"/>
                    <a:gd name="connsiteY13" fmla="*/ 242331 h 400816"/>
                    <a:gd name="connsiteX14" fmla="*/ 82139 w 400187"/>
                    <a:gd name="connsiteY14" fmla="*/ 307212 h 400816"/>
                    <a:gd name="connsiteX15" fmla="*/ 78026 w 400187"/>
                    <a:gd name="connsiteY15" fmla="*/ 330723 h 400816"/>
                    <a:gd name="connsiteX16" fmla="*/ 75563 w 400187"/>
                    <a:gd name="connsiteY16" fmla="*/ 320068 h 400816"/>
                    <a:gd name="connsiteX17" fmla="*/ 16169 w 400187"/>
                    <a:gd name="connsiteY17" fmla="*/ 174154 h 400816"/>
                    <a:gd name="connsiteX18" fmla="*/ 0 w 400187"/>
                    <a:gd name="connsiteY18" fmla="*/ 152746 h 400816"/>
                    <a:gd name="connsiteX19" fmla="*/ 5508 w 400187"/>
                    <a:gd name="connsiteY19" fmla="*/ 136291 h 400816"/>
                    <a:gd name="connsiteX20" fmla="*/ 225608 w 400187"/>
                    <a:gd name="connsiteY20" fmla="*/ 998 h 400816"/>
                    <a:gd name="connsiteX0" fmla="*/ 225608 w 400187"/>
                    <a:gd name="connsiteY0" fmla="*/ 998 h 400816"/>
                    <a:gd name="connsiteX1" fmla="*/ 334102 w 400187"/>
                    <a:gd name="connsiteY1" fmla="*/ 65291 h 400816"/>
                    <a:gd name="connsiteX2" fmla="*/ 362677 w 400187"/>
                    <a:gd name="connsiteY2" fmla="*/ 108154 h 400816"/>
                    <a:gd name="connsiteX3" fmla="*/ 400187 w 400187"/>
                    <a:gd name="connsiteY3" fmla="*/ 282047 h 400816"/>
                    <a:gd name="connsiteX4" fmla="*/ 350861 w 400187"/>
                    <a:gd name="connsiteY4" fmla="*/ 300552 h 400816"/>
                    <a:gd name="connsiteX5" fmla="*/ 315710 w 400187"/>
                    <a:gd name="connsiteY5" fmla="*/ 297458 h 400816"/>
                    <a:gd name="connsiteX6" fmla="*/ 319756 w 400187"/>
                    <a:gd name="connsiteY6" fmla="*/ 380363 h 400816"/>
                    <a:gd name="connsiteX7" fmla="*/ 317670 w 400187"/>
                    <a:gd name="connsiteY7" fmla="*/ 400816 h 400816"/>
                    <a:gd name="connsiteX8" fmla="*/ 313444 w 400187"/>
                    <a:gd name="connsiteY8" fmla="*/ 388408 h 400816"/>
                    <a:gd name="connsiteX9" fmla="*/ 234316 w 400187"/>
                    <a:gd name="connsiteY9" fmla="*/ 323527 h 400816"/>
                    <a:gd name="connsiteX10" fmla="*/ 190759 w 400187"/>
                    <a:gd name="connsiteY10" fmla="*/ 340935 h 400816"/>
                    <a:gd name="connsiteX11" fmla="*/ 173375 w 400187"/>
                    <a:gd name="connsiteY11" fmla="*/ 364135 h 400816"/>
                    <a:gd name="connsiteX12" fmla="*/ 163418 w 400187"/>
                    <a:gd name="connsiteY12" fmla="*/ 307212 h 400816"/>
                    <a:gd name="connsiteX13" fmla="*/ 122778 w 400187"/>
                    <a:gd name="connsiteY13" fmla="*/ 242331 h 400816"/>
                    <a:gd name="connsiteX14" fmla="*/ 82139 w 400187"/>
                    <a:gd name="connsiteY14" fmla="*/ 307212 h 400816"/>
                    <a:gd name="connsiteX15" fmla="*/ 78026 w 400187"/>
                    <a:gd name="connsiteY15" fmla="*/ 330723 h 400816"/>
                    <a:gd name="connsiteX16" fmla="*/ 75563 w 400187"/>
                    <a:gd name="connsiteY16" fmla="*/ 320068 h 400816"/>
                    <a:gd name="connsiteX17" fmla="*/ 16169 w 400187"/>
                    <a:gd name="connsiteY17" fmla="*/ 174154 h 400816"/>
                    <a:gd name="connsiteX18" fmla="*/ 0 w 400187"/>
                    <a:gd name="connsiteY18" fmla="*/ 152746 h 400816"/>
                    <a:gd name="connsiteX19" fmla="*/ 5508 w 400187"/>
                    <a:gd name="connsiteY19" fmla="*/ 136291 h 400816"/>
                    <a:gd name="connsiteX20" fmla="*/ 225608 w 400187"/>
                    <a:gd name="connsiteY20" fmla="*/ 998 h 400816"/>
                    <a:gd name="connsiteX0" fmla="*/ 225608 w 400187"/>
                    <a:gd name="connsiteY0" fmla="*/ 998 h 400816"/>
                    <a:gd name="connsiteX1" fmla="*/ 334102 w 400187"/>
                    <a:gd name="connsiteY1" fmla="*/ 65291 h 400816"/>
                    <a:gd name="connsiteX2" fmla="*/ 362677 w 400187"/>
                    <a:gd name="connsiteY2" fmla="*/ 108154 h 400816"/>
                    <a:gd name="connsiteX3" fmla="*/ 400187 w 400187"/>
                    <a:gd name="connsiteY3" fmla="*/ 282047 h 400816"/>
                    <a:gd name="connsiteX4" fmla="*/ 350861 w 400187"/>
                    <a:gd name="connsiteY4" fmla="*/ 300552 h 400816"/>
                    <a:gd name="connsiteX5" fmla="*/ 360954 w 400187"/>
                    <a:gd name="connsiteY5" fmla="*/ 328414 h 400816"/>
                    <a:gd name="connsiteX6" fmla="*/ 319756 w 400187"/>
                    <a:gd name="connsiteY6" fmla="*/ 380363 h 400816"/>
                    <a:gd name="connsiteX7" fmla="*/ 317670 w 400187"/>
                    <a:gd name="connsiteY7" fmla="*/ 400816 h 400816"/>
                    <a:gd name="connsiteX8" fmla="*/ 313444 w 400187"/>
                    <a:gd name="connsiteY8" fmla="*/ 388408 h 400816"/>
                    <a:gd name="connsiteX9" fmla="*/ 234316 w 400187"/>
                    <a:gd name="connsiteY9" fmla="*/ 323527 h 400816"/>
                    <a:gd name="connsiteX10" fmla="*/ 190759 w 400187"/>
                    <a:gd name="connsiteY10" fmla="*/ 340935 h 400816"/>
                    <a:gd name="connsiteX11" fmla="*/ 173375 w 400187"/>
                    <a:gd name="connsiteY11" fmla="*/ 364135 h 400816"/>
                    <a:gd name="connsiteX12" fmla="*/ 163418 w 400187"/>
                    <a:gd name="connsiteY12" fmla="*/ 307212 h 400816"/>
                    <a:gd name="connsiteX13" fmla="*/ 122778 w 400187"/>
                    <a:gd name="connsiteY13" fmla="*/ 242331 h 400816"/>
                    <a:gd name="connsiteX14" fmla="*/ 82139 w 400187"/>
                    <a:gd name="connsiteY14" fmla="*/ 307212 h 400816"/>
                    <a:gd name="connsiteX15" fmla="*/ 78026 w 400187"/>
                    <a:gd name="connsiteY15" fmla="*/ 330723 h 400816"/>
                    <a:gd name="connsiteX16" fmla="*/ 75563 w 400187"/>
                    <a:gd name="connsiteY16" fmla="*/ 320068 h 400816"/>
                    <a:gd name="connsiteX17" fmla="*/ 16169 w 400187"/>
                    <a:gd name="connsiteY17" fmla="*/ 174154 h 400816"/>
                    <a:gd name="connsiteX18" fmla="*/ 0 w 400187"/>
                    <a:gd name="connsiteY18" fmla="*/ 152746 h 400816"/>
                    <a:gd name="connsiteX19" fmla="*/ 5508 w 400187"/>
                    <a:gd name="connsiteY19" fmla="*/ 136291 h 400816"/>
                    <a:gd name="connsiteX20" fmla="*/ 225608 w 400187"/>
                    <a:gd name="connsiteY20" fmla="*/ 998 h 400816"/>
                    <a:gd name="connsiteX0" fmla="*/ 225608 w 400187"/>
                    <a:gd name="connsiteY0" fmla="*/ 998 h 400816"/>
                    <a:gd name="connsiteX1" fmla="*/ 334102 w 400187"/>
                    <a:gd name="connsiteY1" fmla="*/ 65291 h 400816"/>
                    <a:gd name="connsiteX2" fmla="*/ 362677 w 400187"/>
                    <a:gd name="connsiteY2" fmla="*/ 108154 h 400816"/>
                    <a:gd name="connsiteX3" fmla="*/ 400187 w 400187"/>
                    <a:gd name="connsiteY3" fmla="*/ 282047 h 400816"/>
                    <a:gd name="connsiteX4" fmla="*/ 350861 w 400187"/>
                    <a:gd name="connsiteY4" fmla="*/ 300552 h 400816"/>
                    <a:gd name="connsiteX5" fmla="*/ 358573 w 400187"/>
                    <a:gd name="connsiteY5" fmla="*/ 316508 h 400816"/>
                    <a:gd name="connsiteX6" fmla="*/ 319756 w 400187"/>
                    <a:gd name="connsiteY6" fmla="*/ 380363 h 400816"/>
                    <a:gd name="connsiteX7" fmla="*/ 317670 w 400187"/>
                    <a:gd name="connsiteY7" fmla="*/ 400816 h 400816"/>
                    <a:gd name="connsiteX8" fmla="*/ 313444 w 400187"/>
                    <a:gd name="connsiteY8" fmla="*/ 388408 h 400816"/>
                    <a:gd name="connsiteX9" fmla="*/ 234316 w 400187"/>
                    <a:gd name="connsiteY9" fmla="*/ 323527 h 400816"/>
                    <a:gd name="connsiteX10" fmla="*/ 190759 w 400187"/>
                    <a:gd name="connsiteY10" fmla="*/ 340935 h 400816"/>
                    <a:gd name="connsiteX11" fmla="*/ 173375 w 400187"/>
                    <a:gd name="connsiteY11" fmla="*/ 364135 h 400816"/>
                    <a:gd name="connsiteX12" fmla="*/ 163418 w 400187"/>
                    <a:gd name="connsiteY12" fmla="*/ 307212 h 400816"/>
                    <a:gd name="connsiteX13" fmla="*/ 122778 w 400187"/>
                    <a:gd name="connsiteY13" fmla="*/ 242331 h 400816"/>
                    <a:gd name="connsiteX14" fmla="*/ 82139 w 400187"/>
                    <a:gd name="connsiteY14" fmla="*/ 307212 h 400816"/>
                    <a:gd name="connsiteX15" fmla="*/ 78026 w 400187"/>
                    <a:gd name="connsiteY15" fmla="*/ 330723 h 400816"/>
                    <a:gd name="connsiteX16" fmla="*/ 75563 w 400187"/>
                    <a:gd name="connsiteY16" fmla="*/ 320068 h 400816"/>
                    <a:gd name="connsiteX17" fmla="*/ 16169 w 400187"/>
                    <a:gd name="connsiteY17" fmla="*/ 174154 h 400816"/>
                    <a:gd name="connsiteX18" fmla="*/ 0 w 400187"/>
                    <a:gd name="connsiteY18" fmla="*/ 152746 h 400816"/>
                    <a:gd name="connsiteX19" fmla="*/ 5508 w 400187"/>
                    <a:gd name="connsiteY19" fmla="*/ 136291 h 400816"/>
                    <a:gd name="connsiteX20" fmla="*/ 225608 w 400187"/>
                    <a:gd name="connsiteY20" fmla="*/ 998 h 400816"/>
                    <a:gd name="connsiteX0" fmla="*/ 225608 w 400187"/>
                    <a:gd name="connsiteY0" fmla="*/ 998 h 400816"/>
                    <a:gd name="connsiteX1" fmla="*/ 334102 w 400187"/>
                    <a:gd name="connsiteY1" fmla="*/ 65291 h 400816"/>
                    <a:gd name="connsiteX2" fmla="*/ 362677 w 400187"/>
                    <a:gd name="connsiteY2" fmla="*/ 108154 h 400816"/>
                    <a:gd name="connsiteX3" fmla="*/ 400187 w 400187"/>
                    <a:gd name="connsiteY3" fmla="*/ 282047 h 400816"/>
                    <a:gd name="connsiteX4" fmla="*/ 350861 w 400187"/>
                    <a:gd name="connsiteY4" fmla="*/ 300552 h 400816"/>
                    <a:gd name="connsiteX5" fmla="*/ 358573 w 400187"/>
                    <a:gd name="connsiteY5" fmla="*/ 316508 h 400816"/>
                    <a:gd name="connsiteX6" fmla="*/ 319756 w 400187"/>
                    <a:gd name="connsiteY6" fmla="*/ 380363 h 400816"/>
                    <a:gd name="connsiteX7" fmla="*/ 317670 w 400187"/>
                    <a:gd name="connsiteY7" fmla="*/ 400816 h 400816"/>
                    <a:gd name="connsiteX8" fmla="*/ 313444 w 400187"/>
                    <a:gd name="connsiteY8" fmla="*/ 388408 h 400816"/>
                    <a:gd name="connsiteX9" fmla="*/ 234316 w 400187"/>
                    <a:gd name="connsiteY9" fmla="*/ 323527 h 400816"/>
                    <a:gd name="connsiteX10" fmla="*/ 190759 w 400187"/>
                    <a:gd name="connsiteY10" fmla="*/ 340935 h 400816"/>
                    <a:gd name="connsiteX11" fmla="*/ 173375 w 400187"/>
                    <a:gd name="connsiteY11" fmla="*/ 364135 h 400816"/>
                    <a:gd name="connsiteX12" fmla="*/ 163418 w 400187"/>
                    <a:gd name="connsiteY12" fmla="*/ 307212 h 400816"/>
                    <a:gd name="connsiteX13" fmla="*/ 122778 w 400187"/>
                    <a:gd name="connsiteY13" fmla="*/ 242331 h 400816"/>
                    <a:gd name="connsiteX14" fmla="*/ 82139 w 400187"/>
                    <a:gd name="connsiteY14" fmla="*/ 307212 h 400816"/>
                    <a:gd name="connsiteX15" fmla="*/ 78026 w 400187"/>
                    <a:gd name="connsiteY15" fmla="*/ 330723 h 400816"/>
                    <a:gd name="connsiteX16" fmla="*/ 51751 w 400187"/>
                    <a:gd name="connsiteY16" fmla="*/ 293874 h 400816"/>
                    <a:gd name="connsiteX17" fmla="*/ 16169 w 400187"/>
                    <a:gd name="connsiteY17" fmla="*/ 174154 h 400816"/>
                    <a:gd name="connsiteX18" fmla="*/ 0 w 400187"/>
                    <a:gd name="connsiteY18" fmla="*/ 152746 h 400816"/>
                    <a:gd name="connsiteX19" fmla="*/ 5508 w 400187"/>
                    <a:gd name="connsiteY19" fmla="*/ 136291 h 400816"/>
                    <a:gd name="connsiteX20" fmla="*/ 225608 w 400187"/>
                    <a:gd name="connsiteY20" fmla="*/ 998 h 400816"/>
                    <a:gd name="connsiteX0" fmla="*/ 225608 w 400187"/>
                    <a:gd name="connsiteY0" fmla="*/ 998 h 400816"/>
                    <a:gd name="connsiteX1" fmla="*/ 334102 w 400187"/>
                    <a:gd name="connsiteY1" fmla="*/ 65291 h 400816"/>
                    <a:gd name="connsiteX2" fmla="*/ 362677 w 400187"/>
                    <a:gd name="connsiteY2" fmla="*/ 108154 h 400816"/>
                    <a:gd name="connsiteX3" fmla="*/ 400187 w 400187"/>
                    <a:gd name="connsiteY3" fmla="*/ 282047 h 400816"/>
                    <a:gd name="connsiteX4" fmla="*/ 350861 w 400187"/>
                    <a:gd name="connsiteY4" fmla="*/ 300552 h 400816"/>
                    <a:gd name="connsiteX5" fmla="*/ 358573 w 400187"/>
                    <a:gd name="connsiteY5" fmla="*/ 316508 h 400816"/>
                    <a:gd name="connsiteX6" fmla="*/ 319756 w 400187"/>
                    <a:gd name="connsiteY6" fmla="*/ 380363 h 400816"/>
                    <a:gd name="connsiteX7" fmla="*/ 317670 w 400187"/>
                    <a:gd name="connsiteY7" fmla="*/ 400816 h 400816"/>
                    <a:gd name="connsiteX8" fmla="*/ 313444 w 400187"/>
                    <a:gd name="connsiteY8" fmla="*/ 388408 h 400816"/>
                    <a:gd name="connsiteX9" fmla="*/ 234316 w 400187"/>
                    <a:gd name="connsiteY9" fmla="*/ 323527 h 400816"/>
                    <a:gd name="connsiteX10" fmla="*/ 190759 w 400187"/>
                    <a:gd name="connsiteY10" fmla="*/ 340935 h 400816"/>
                    <a:gd name="connsiteX11" fmla="*/ 173375 w 400187"/>
                    <a:gd name="connsiteY11" fmla="*/ 364135 h 400816"/>
                    <a:gd name="connsiteX12" fmla="*/ 148364 w 400187"/>
                    <a:gd name="connsiteY12" fmla="*/ 334373 h 400816"/>
                    <a:gd name="connsiteX13" fmla="*/ 163418 w 400187"/>
                    <a:gd name="connsiteY13" fmla="*/ 307212 h 400816"/>
                    <a:gd name="connsiteX14" fmla="*/ 122778 w 400187"/>
                    <a:gd name="connsiteY14" fmla="*/ 242331 h 400816"/>
                    <a:gd name="connsiteX15" fmla="*/ 82139 w 400187"/>
                    <a:gd name="connsiteY15" fmla="*/ 307212 h 400816"/>
                    <a:gd name="connsiteX16" fmla="*/ 78026 w 400187"/>
                    <a:gd name="connsiteY16" fmla="*/ 330723 h 400816"/>
                    <a:gd name="connsiteX17" fmla="*/ 51751 w 400187"/>
                    <a:gd name="connsiteY17" fmla="*/ 293874 h 400816"/>
                    <a:gd name="connsiteX18" fmla="*/ 16169 w 400187"/>
                    <a:gd name="connsiteY18" fmla="*/ 174154 h 400816"/>
                    <a:gd name="connsiteX19" fmla="*/ 0 w 400187"/>
                    <a:gd name="connsiteY19" fmla="*/ 152746 h 400816"/>
                    <a:gd name="connsiteX20" fmla="*/ 5508 w 400187"/>
                    <a:gd name="connsiteY20" fmla="*/ 136291 h 400816"/>
                    <a:gd name="connsiteX21" fmla="*/ 225608 w 400187"/>
                    <a:gd name="connsiteY21" fmla="*/ 998 h 400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187" h="400816">
                      <a:moveTo>
                        <a:pt x="225608" y="998"/>
                      </a:moveTo>
                      <a:cubicBezTo>
                        <a:pt x="272833" y="-8057"/>
                        <a:pt x="319195" y="47035"/>
                        <a:pt x="334102" y="65291"/>
                      </a:cubicBezTo>
                      <a:cubicBezTo>
                        <a:pt x="349009" y="83547"/>
                        <a:pt x="333407" y="84728"/>
                        <a:pt x="362677" y="108154"/>
                      </a:cubicBezTo>
                      <a:cubicBezTo>
                        <a:pt x="391947" y="131580"/>
                        <a:pt x="388663" y="248790"/>
                        <a:pt x="400187" y="282047"/>
                      </a:cubicBezTo>
                      <a:lnTo>
                        <a:pt x="350861" y="300552"/>
                      </a:lnTo>
                      <a:lnTo>
                        <a:pt x="358573" y="316508"/>
                      </a:lnTo>
                      <a:cubicBezTo>
                        <a:pt x="312221" y="316508"/>
                        <a:pt x="336744" y="300857"/>
                        <a:pt x="319756" y="380363"/>
                      </a:cubicBezTo>
                      <a:lnTo>
                        <a:pt x="317670" y="400816"/>
                      </a:lnTo>
                      <a:lnTo>
                        <a:pt x="313444" y="388408"/>
                      </a:lnTo>
                      <a:cubicBezTo>
                        <a:pt x="293194" y="348321"/>
                        <a:pt x="265218" y="323527"/>
                        <a:pt x="234316" y="323527"/>
                      </a:cubicBezTo>
                      <a:cubicBezTo>
                        <a:pt x="218866" y="323527"/>
                        <a:pt x="204147" y="329726"/>
                        <a:pt x="190759" y="340935"/>
                      </a:cubicBezTo>
                      <a:lnTo>
                        <a:pt x="173375" y="364135"/>
                      </a:lnTo>
                      <a:cubicBezTo>
                        <a:pt x="169801" y="349452"/>
                        <a:pt x="151938" y="349056"/>
                        <a:pt x="148364" y="334373"/>
                      </a:cubicBezTo>
                      <a:lnTo>
                        <a:pt x="163418" y="307212"/>
                      </a:lnTo>
                      <a:cubicBezTo>
                        <a:pt x="153017" y="267125"/>
                        <a:pt x="138649" y="242331"/>
                        <a:pt x="122778" y="242331"/>
                      </a:cubicBezTo>
                      <a:cubicBezTo>
                        <a:pt x="106908" y="242331"/>
                        <a:pt x="92540" y="267125"/>
                        <a:pt x="82139" y="307212"/>
                      </a:cubicBezTo>
                      <a:lnTo>
                        <a:pt x="78026" y="330723"/>
                      </a:lnTo>
                      <a:lnTo>
                        <a:pt x="51751" y="293874"/>
                      </a:lnTo>
                      <a:cubicBezTo>
                        <a:pt x="34875" y="235078"/>
                        <a:pt x="37226" y="209816"/>
                        <a:pt x="16169" y="174154"/>
                      </a:cubicBezTo>
                      <a:lnTo>
                        <a:pt x="0" y="152746"/>
                      </a:lnTo>
                      <a:lnTo>
                        <a:pt x="5508" y="136291"/>
                      </a:lnTo>
                      <a:cubicBezTo>
                        <a:pt x="41771" y="56785"/>
                        <a:pt x="126665" y="998"/>
                        <a:pt x="225608" y="998"/>
                      </a:cubicBezTo>
                      <a:close/>
                    </a:path>
                  </a:pathLst>
                </a:custGeom>
                <a:solidFill>
                  <a:srgbClr val="663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nvGrpSpPr>
              <p:cNvPr id="157" name="Группа 156"/>
              <p:cNvGrpSpPr/>
              <p:nvPr/>
            </p:nvGrpSpPr>
            <p:grpSpPr>
              <a:xfrm rot="20055725">
                <a:off x="6528950" y="3496896"/>
                <a:ext cx="123638" cy="337472"/>
                <a:chOff x="7831708" y="3178738"/>
                <a:chExt cx="231498" cy="631897"/>
              </a:xfrm>
            </p:grpSpPr>
            <p:grpSp>
              <p:nvGrpSpPr>
                <p:cNvPr id="167" name="Группа 166"/>
                <p:cNvGrpSpPr/>
                <p:nvPr/>
              </p:nvGrpSpPr>
              <p:grpSpPr>
                <a:xfrm rot="9754151" flipH="1">
                  <a:off x="7831708" y="3178738"/>
                  <a:ext cx="162092" cy="347686"/>
                  <a:chOff x="6790203" y="2987463"/>
                  <a:chExt cx="261050" cy="559946"/>
                </a:xfrm>
                <a:solidFill>
                  <a:srgbClr val="FBE3B8"/>
                </a:solidFill>
              </p:grpSpPr>
              <p:sp>
                <p:nvSpPr>
                  <p:cNvPr id="170" name="Скругленный прямоугольник 169"/>
                  <p:cNvSpPr/>
                  <p:nvPr/>
                </p:nvSpPr>
                <p:spPr>
                  <a:xfrm>
                    <a:off x="6834689" y="2987463"/>
                    <a:ext cx="121416" cy="243815"/>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171" name="Группа 170"/>
                  <p:cNvGrpSpPr/>
                  <p:nvPr/>
                </p:nvGrpSpPr>
                <p:grpSpPr>
                  <a:xfrm>
                    <a:off x="6790203" y="3150821"/>
                    <a:ext cx="261050" cy="396588"/>
                    <a:chOff x="6790222" y="3150826"/>
                    <a:chExt cx="261028" cy="396598"/>
                  </a:xfrm>
                  <a:grpFill/>
                </p:grpSpPr>
                <p:sp>
                  <p:nvSpPr>
                    <p:cNvPr id="172" name="Скругленный прямоугольник 171"/>
                    <p:cNvSpPr/>
                    <p:nvPr/>
                  </p:nvSpPr>
                  <p:spPr>
                    <a:xfrm>
                      <a:off x="6790222" y="3153088"/>
                      <a:ext cx="226608" cy="254507"/>
                    </a:xfrm>
                    <a:prstGeom prst="roundRect">
                      <a:avLst>
                        <a:gd name="adj" fmla="val 342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73" name="Скругленный прямоугольник 172"/>
                    <p:cNvSpPr/>
                    <p:nvPr/>
                  </p:nvSpPr>
                  <p:spPr>
                    <a:xfrm>
                      <a:off x="6795138" y="3220107"/>
                      <a:ext cx="44507" cy="25450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74" name="Скругленный прямоугольник 173"/>
                    <p:cNvSpPr/>
                    <p:nvPr/>
                  </p:nvSpPr>
                  <p:spPr>
                    <a:xfrm>
                      <a:off x="6847909" y="3247367"/>
                      <a:ext cx="44507" cy="25450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75" name="Скругленный прямоугольник 174"/>
                    <p:cNvSpPr/>
                    <p:nvPr/>
                  </p:nvSpPr>
                  <p:spPr>
                    <a:xfrm>
                      <a:off x="6899627" y="3292917"/>
                      <a:ext cx="44508" cy="25450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76" name="Скругленный прямоугольник 175"/>
                    <p:cNvSpPr/>
                    <p:nvPr/>
                  </p:nvSpPr>
                  <p:spPr>
                    <a:xfrm>
                      <a:off x="6952409" y="3270631"/>
                      <a:ext cx="44507" cy="2545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77" name="Скругленный прямоугольник 176"/>
                    <p:cNvSpPr/>
                    <p:nvPr/>
                  </p:nvSpPr>
                  <p:spPr>
                    <a:xfrm rot="19864124">
                      <a:off x="7005533" y="3150826"/>
                      <a:ext cx="45717" cy="2545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sp>
              <p:nvSpPr>
                <p:cNvPr id="168" name="Овал 167"/>
                <p:cNvSpPr/>
                <p:nvPr/>
              </p:nvSpPr>
              <p:spPr>
                <a:xfrm rot="21263064">
                  <a:off x="7870931" y="3448640"/>
                  <a:ext cx="155073" cy="941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69" name="Овал 168"/>
                <p:cNvSpPr/>
                <p:nvPr/>
              </p:nvSpPr>
              <p:spPr>
                <a:xfrm rot="21263064">
                  <a:off x="7873105" y="3474293"/>
                  <a:ext cx="190101" cy="33634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158" name="Полилиния 157"/>
              <p:cNvSpPr/>
              <p:nvPr/>
            </p:nvSpPr>
            <p:spPr>
              <a:xfrm>
                <a:off x="6988272" y="3468485"/>
                <a:ext cx="111453" cy="242837"/>
              </a:xfrm>
              <a:custGeom>
                <a:avLst/>
                <a:gdLst>
                  <a:gd name="connsiteX0" fmla="*/ 82550 w 184150"/>
                  <a:gd name="connsiteY0" fmla="*/ 0 h 469900"/>
                  <a:gd name="connsiteX1" fmla="*/ 82550 w 184150"/>
                  <a:gd name="connsiteY1" fmla="*/ 0 h 469900"/>
                  <a:gd name="connsiteX2" fmla="*/ 76200 w 184150"/>
                  <a:gd name="connsiteY2" fmla="*/ 63500 h 469900"/>
                  <a:gd name="connsiteX3" fmla="*/ 69850 w 184150"/>
                  <a:gd name="connsiteY3" fmla="*/ 82550 h 469900"/>
                  <a:gd name="connsiteX4" fmla="*/ 50800 w 184150"/>
                  <a:gd name="connsiteY4" fmla="*/ 152400 h 469900"/>
                  <a:gd name="connsiteX5" fmla="*/ 38100 w 184150"/>
                  <a:gd name="connsiteY5" fmla="*/ 190500 h 469900"/>
                  <a:gd name="connsiteX6" fmla="*/ 31750 w 184150"/>
                  <a:gd name="connsiteY6" fmla="*/ 209550 h 469900"/>
                  <a:gd name="connsiteX7" fmla="*/ 19050 w 184150"/>
                  <a:gd name="connsiteY7" fmla="*/ 228600 h 469900"/>
                  <a:gd name="connsiteX8" fmla="*/ 12700 w 184150"/>
                  <a:gd name="connsiteY8" fmla="*/ 254000 h 469900"/>
                  <a:gd name="connsiteX9" fmla="*/ 6350 w 184150"/>
                  <a:gd name="connsiteY9" fmla="*/ 273050 h 469900"/>
                  <a:gd name="connsiteX10" fmla="*/ 0 w 184150"/>
                  <a:gd name="connsiteY10" fmla="*/ 330200 h 469900"/>
                  <a:gd name="connsiteX11" fmla="*/ 19050 w 184150"/>
                  <a:gd name="connsiteY11" fmla="*/ 406400 h 469900"/>
                  <a:gd name="connsiteX12" fmla="*/ 12700 w 184150"/>
                  <a:gd name="connsiteY12" fmla="*/ 469900 h 469900"/>
                  <a:gd name="connsiteX13" fmla="*/ 184150 w 184150"/>
                  <a:gd name="connsiteY13" fmla="*/ 457200 h 469900"/>
                  <a:gd name="connsiteX14" fmla="*/ 82550 w 184150"/>
                  <a:gd name="connsiteY14" fmla="*/ 0 h 469900"/>
                  <a:gd name="connsiteX0" fmla="*/ 87312 w 184150"/>
                  <a:gd name="connsiteY0" fmla="*/ 40808 h 470227"/>
                  <a:gd name="connsiteX1" fmla="*/ 82550 w 184150"/>
                  <a:gd name="connsiteY1" fmla="*/ 327 h 470227"/>
                  <a:gd name="connsiteX2" fmla="*/ 76200 w 184150"/>
                  <a:gd name="connsiteY2" fmla="*/ 63827 h 470227"/>
                  <a:gd name="connsiteX3" fmla="*/ 69850 w 184150"/>
                  <a:gd name="connsiteY3" fmla="*/ 82877 h 470227"/>
                  <a:gd name="connsiteX4" fmla="*/ 50800 w 184150"/>
                  <a:gd name="connsiteY4" fmla="*/ 152727 h 470227"/>
                  <a:gd name="connsiteX5" fmla="*/ 38100 w 184150"/>
                  <a:gd name="connsiteY5" fmla="*/ 190827 h 470227"/>
                  <a:gd name="connsiteX6" fmla="*/ 31750 w 184150"/>
                  <a:gd name="connsiteY6" fmla="*/ 209877 h 470227"/>
                  <a:gd name="connsiteX7" fmla="*/ 19050 w 184150"/>
                  <a:gd name="connsiteY7" fmla="*/ 228927 h 470227"/>
                  <a:gd name="connsiteX8" fmla="*/ 12700 w 184150"/>
                  <a:gd name="connsiteY8" fmla="*/ 254327 h 470227"/>
                  <a:gd name="connsiteX9" fmla="*/ 6350 w 184150"/>
                  <a:gd name="connsiteY9" fmla="*/ 273377 h 470227"/>
                  <a:gd name="connsiteX10" fmla="*/ 0 w 184150"/>
                  <a:gd name="connsiteY10" fmla="*/ 330527 h 470227"/>
                  <a:gd name="connsiteX11" fmla="*/ 19050 w 184150"/>
                  <a:gd name="connsiteY11" fmla="*/ 406727 h 470227"/>
                  <a:gd name="connsiteX12" fmla="*/ 12700 w 184150"/>
                  <a:gd name="connsiteY12" fmla="*/ 470227 h 470227"/>
                  <a:gd name="connsiteX13" fmla="*/ 184150 w 184150"/>
                  <a:gd name="connsiteY13" fmla="*/ 457527 h 470227"/>
                  <a:gd name="connsiteX14" fmla="*/ 87312 w 184150"/>
                  <a:gd name="connsiteY14" fmla="*/ 40808 h 470227"/>
                  <a:gd name="connsiteX0" fmla="*/ 87312 w 184150"/>
                  <a:gd name="connsiteY0" fmla="*/ 6236 h 435655"/>
                  <a:gd name="connsiteX1" fmla="*/ 80169 w 184150"/>
                  <a:gd name="connsiteY1" fmla="*/ 8617 h 435655"/>
                  <a:gd name="connsiteX2" fmla="*/ 76200 w 184150"/>
                  <a:gd name="connsiteY2" fmla="*/ 29255 h 435655"/>
                  <a:gd name="connsiteX3" fmla="*/ 69850 w 184150"/>
                  <a:gd name="connsiteY3" fmla="*/ 48305 h 435655"/>
                  <a:gd name="connsiteX4" fmla="*/ 50800 w 184150"/>
                  <a:gd name="connsiteY4" fmla="*/ 118155 h 435655"/>
                  <a:gd name="connsiteX5" fmla="*/ 38100 w 184150"/>
                  <a:gd name="connsiteY5" fmla="*/ 156255 h 435655"/>
                  <a:gd name="connsiteX6" fmla="*/ 31750 w 184150"/>
                  <a:gd name="connsiteY6" fmla="*/ 175305 h 435655"/>
                  <a:gd name="connsiteX7" fmla="*/ 19050 w 184150"/>
                  <a:gd name="connsiteY7" fmla="*/ 194355 h 435655"/>
                  <a:gd name="connsiteX8" fmla="*/ 12700 w 184150"/>
                  <a:gd name="connsiteY8" fmla="*/ 219755 h 435655"/>
                  <a:gd name="connsiteX9" fmla="*/ 6350 w 184150"/>
                  <a:gd name="connsiteY9" fmla="*/ 238805 h 435655"/>
                  <a:gd name="connsiteX10" fmla="*/ 0 w 184150"/>
                  <a:gd name="connsiteY10" fmla="*/ 295955 h 435655"/>
                  <a:gd name="connsiteX11" fmla="*/ 19050 w 184150"/>
                  <a:gd name="connsiteY11" fmla="*/ 372155 h 435655"/>
                  <a:gd name="connsiteX12" fmla="*/ 12700 w 184150"/>
                  <a:gd name="connsiteY12" fmla="*/ 435655 h 435655"/>
                  <a:gd name="connsiteX13" fmla="*/ 184150 w 184150"/>
                  <a:gd name="connsiteY13" fmla="*/ 422955 h 435655"/>
                  <a:gd name="connsiteX14" fmla="*/ 87312 w 184150"/>
                  <a:gd name="connsiteY14" fmla="*/ 6236 h 435655"/>
                  <a:gd name="connsiteX0" fmla="*/ 110331 w 207169"/>
                  <a:gd name="connsiteY0" fmla="*/ 6236 h 433273"/>
                  <a:gd name="connsiteX1" fmla="*/ 103188 w 207169"/>
                  <a:gd name="connsiteY1" fmla="*/ 8617 h 433273"/>
                  <a:gd name="connsiteX2" fmla="*/ 99219 w 207169"/>
                  <a:gd name="connsiteY2" fmla="*/ 29255 h 433273"/>
                  <a:gd name="connsiteX3" fmla="*/ 92869 w 207169"/>
                  <a:gd name="connsiteY3" fmla="*/ 48305 h 433273"/>
                  <a:gd name="connsiteX4" fmla="*/ 73819 w 207169"/>
                  <a:gd name="connsiteY4" fmla="*/ 118155 h 433273"/>
                  <a:gd name="connsiteX5" fmla="*/ 61119 w 207169"/>
                  <a:gd name="connsiteY5" fmla="*/ 156255 h 433273"/>
                  <a:gd name="connsiteX6" fmla="*/ 54769 w 207169"/>
                  <a:gd name="connsiteY6" fmla="*/ 175305 h 433273"/>
                  <a:gd name="connsiteX7" fmla="*/ 42069 w 207169"/>
                  <a:gd name="connsiteY7" fmla="*/ 194355 h 433273"/>
                  <a:gd name="connsiteX8" fmla="*/ 35719 w 207169"/>
                  <a:gd name="connsiteY8" fmla="*/ 219755 h 433273"/>
                  <a:gd name="connsiteX9" fmla="*/ 29369 w 207169"/>
                  <a:gd name="connsiteY9" fmla="*/ 238805 h 433273"/>
                  <a:gd name="connsiteX10" fmla="*/ 23019 w 207169"/>
                  <a:gd name="connsiteY10" fmla="*/ 295955 h 433273"/>
                  <a:gd name="connsiteX11" fmla="*/ 42069 w 207169"/>
                  <a:gd name="connsiteY11" fmla="*/ 372155 h 433273"/>
                  <a:gd name="connsiteX12" fmla="*/ 0 w 207169"/>
                  <a:gd name="connsiteY12" fmla="*/ 433273 h 433273"/>
                  <a:gd name="connsiteX13" fmla="*/ 207169 w 207169"/>
                  <a:gd name="connsiteY13" fmla="*/ 422955 h 433273"/>
                  <a:gd name="connsiteX14" fmla="*/ 110331 w 207169"/>
                  <a:gd name="connsiteY14" fmla="*/ 6236 h 433273"/>
                  <a:gd name="connsiteX0" fmla="*/ 111512 w 208350"/>
                  <a:gd name="connsiteY0" fmla="*/ 6236 h 454696"/>
                  <a:gd name="connsiteX1" fmla="*/ 104369 w 208350"/>
                  <a:gd name="connsiteY1" fmla="*/ 8617 h 454696"/>
                  <a:gd name="connsiteX2" fmla="*/ 100400 w 208350"/>
                  <a:gd name="connsiteY2" fmla="*/ 29255 h 454696"/>
                  <a:gd name="connsiteX3" fmla="*/ 94050 w 208350"/>
                  <a:gd name="connsiteY3" fmla="*/ 48305 h 454696"/>
                  <a:gd name="connsiteX4" fmla="*/ 75000 w 208350"/>
                  <a:gd name="connsiteY4" fmla="*/ 118155 h 454696"/>
                  <a:gd name="connsiteX5" fmla="*/ 62300 w 208350"/>
                  <a:gd name="connsiteY5" fmla="*/ 156255 h 454696"/>
                  <a:gd name="connsiteX6" fmla="*/ 55950 w 208350"/>
                  <a:gd name="connsiteY6" fmla="*/ 175305 h 454696"/>
                  <a:gd name="connsiteX7" fmla="*/ 43250 w 208350"/>
                  <a:gd name="connsiteY7" fmla="*/ 194355 h 454696"/>
                  <a:gd name="connsiteX8" fmla="*/ 36900 w 208350"/>
                  <a:gd name="connsiteY8" fmla="*/ 219755 h 454696"/>
                  <a:gd name="connsiteX9" fmla="*/ 30550 w 208350"/>
                  <a:gd name="connsiteY9" fmla="*/ 238805 h 454696"/>
                  <a:gd name="connsiteX10" fmla="*/ 24200 w 208350"/>
                  <a:gd name="connsiteY10" fmla="*/ 295955 h 454696"/>
                  <a:gd name="connsiteX11" fmla="*/ 43250 w 208350"/>
                  <a:gd name="connsiteY11" fmla="*/ 372155 h 454696"/>
                  <a:gd name="connsiteX12" fmla="*/ 1181 w 208350"/>
                  <a:gd name="connsiteY12" fmla="*/ 433273 h 454696"/>
                  <a:gd name="connsiteX13" fmla="*/ 105603 w 208350"/>
                  <a:gd name="connsiteY13" fmla="*/ 454696 h 454696"/>
                  <a:gd name="connsiteX14" fmla="*/ 208350 w 208350"/>
                  <a:gd name="connsiteY14" fmla="*/ 422955 h 454696"/>
                  <a:gd name="connsiteX15" fmla="*/ 111512 w 208350"/>
                  <a:gd name="connsiteY15" fmla="*/ 6236 h 454696"/>
                  <a:gd name="connsiteX0" fmla="*/ 111512 w 208690"/>
                  <a:gd name="connsiteY0" fmla="*/ 6236 h 454696"/>
                  <a:gd name="connsiteX1" fmla="*/ 104369 w 208690"/>
                  <a:gd name="connsiteY1" fmla="*/ 8617 h 454696"/>
                  <a:gd name="connsiteX2" fmla="*/ 100400 w 208690"/>
                  <a:gd name="connsiteY2" fmla="*/ 29255 h 454696"/>
                  <a:gd name="connsiteX3" fmla="*/ 94050 w 208690"/>
                  <a:gd name="connsiteY3" fmla="*/ 48305 h 454696"/>
                  <a:gd name="connsiteX4" fmla="*/ 75000 w 208690"/>
                  <a:gd name="connsiteY4" fmla="*/ 118155 h 454696"/>
                  <a:gd name="connsiteX5" fmla="*/ 62300 w 208690"/>
                  <a:gd name="connsiteY5" fmla="*/ 156255 h 454696"/>
                  <a:gd name="connsiteX6" fmla="*/ 55950 w 208690"/>
                  <a:gd name="connsiteY6" fmla="*/ 175305 h 454696"/>
                  <a:gd name="connsiteX7" fmla="*/ 43250 w 208690"/>
                  <a:gd name="connsiteY7" fmla="*/ 194355 h 454696"/>
                  <a:gd name="connsiteX8" fmla="*/ 36900 w 208690"/>
                  <a:gd name="connsiteY8" fmla="*/ 219755 h 454696"/>
                  <a:gd name="connsiteX9" fmla="*/ 30550 w 208690"/>
                  <a:gd name="connsiteY9" fmla="*/ 238805 h 454696"/>
                  <a:gd name="connsiteX10" fmla="*/ 24200 w 208690"/>
                  <a:gd name="connsiteY10" fmla="*/ 295955 h 454696"/>
                  <a:gd name="connsiteX11" fmla="*/ 43250 w 208690"/>
                  <a:gd name="connsiteY11" fmla="*/ 372155 h 454696"/>
                  <a:gd name="connsiteX12" fmla="*/ 1181 w 208690"/>
                  <a:gd name="connsiteY12" fmla="*/ 433273 h 454696"/>
                  <a:gd name="connsiteX13" fmla="*/ 105603 w 208690"/>
                  <a:gd name="connsiteY13" fmla="*/ 454696 h 454696"/>
                  <a:gd name="connsiteX14" fmla="*/ 208350 w 208690"/>
                  <a:gd name="connsiteY14" fmla="*/ 422955 h 454696"/>
                  <a:gd name="connsiteX15" fmla="*/ 111512 w 208690"/>
                  <a:gd name="connsiteY15" fmla="*/ 6236 h 45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8690" h="454696">
                    <a:moveTo>
                      <a:pt x="111512" y="6236"/>
                    </a:moveTo>
                    <a:cubicBezTo>
                      <a:pt x="109925" y="-7258"/>
                      <a:pt x="106221" y="4780"/>
                      <a:pt x="104369" y="8617"/>
                    </a:cubicBezTo>
                    <a:cubicBezTo>
                      <a:pt x="102517" y="12454"/>
                      <a:pt x="102120" y="22640"/>
                      <a:pt x="100400" y="29255"/>
                    </a:cubicBezTo>
                    <a:cubicBezTo>
                      <a:pt x="98680" y="35870"/>
                      <a:pt x="95889" y="41869"/>
                      <a:pt x="94050" y="48305"/>
                    </a:cubicBezTo>
                    <a:cubicBezTo>
                      <a:pt x="72338" y="124296"/>
                      <a:pt x="110622" y="2383"/>
                      <a:pt x="75000" y="118155"/>
                    </a:cubicBezTo>
                    <a:cubicBezTo>
                      <a:pt x="71063" y="130950"/>
                      <a:pt x="66533" y="143555"/>
                      <a:pt x="62300" y="156255"/>
                    </a:cubicBezTo>
                    <a:cubicBezTo>
                      <a:pt x="60183" y="162605"/>
                      <a:pt x="59663" y="169736"/>
                      <a:pt x="55950" y="175305"/>
                    </a:cubicBezTo>
                    <a:lnTo>
                      <a:pt x="43250" y="194355"/>
                    </a:lnTo>
                    <a:cubicBezTo>
                      <a:pt x="41133" y="202822"/>
                      <a:pt x="39298" y="211364"/>
                      <a:pt x="36900" y="219755"/>
                    </a:cubicBezTo>
                    <a:cubicBezTo>
                      <a:pt x="35061" y="226191"/>
                      <a:pt x="31650" y="232203"/>
                      <a:pt x="30550" y="238805"/>
                    </a:cubicBezTo>
                    <a:cubicBezTo>
                      <a:pt x="27399" y="257711"/>
                      <a:pt x="26317" y="276905"/>
                      <a:pt x="24200" y="295955"/>
                    </a:cubicBezTo>
                    <a:cubicBezTo>
                      <a:pt x="32081" y="319597"/>
                      <a:pt x="47086" y="349269"/>
                      <a:pt x="43250" y="372155"/>
                    </a:cubicBezTo>
                    <a:cubicBezTo>
                      <a:pt x="39414" y="395041"/>
                      <a:pt x="-8020" y="423088"/>
                      <a:pt x="1181" y="433273"/>
                    </a:cubicBezTo>
                    <a:cubicBezTo>
                      <a:pt x="33607" y="433270"/>
                      <a:pt x="73177" y="454699"/>
                      <a:pt x="105603" y="454696"/>
                    </a:cubicBezTo>
                    <a:lnTo>
                      <a:pt x="208350" y="422955"/>
                    </a:lnTo>
                    <a:cubicBezTo>
                      <a:pt x="214171" y="284049"/>
                      <a:pt x="143791" y="145142"/>
                      <a:pt x="111512" y="6236"/>
                    </a:cubicBezTo>
                    <a:close/>
                  </a:path>
                </a:pathLst>
              </a:custGeom>
              <a:solidFill>
                <a:srgbClr val="31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nvGrpSpPr>
              <p:cNvPr id="159" name="Группа 158"/>
              <p:cNvGrpSpPr/>
              <p:nvPr/>
            </p:nvGrpSpPr>
            <p:grpSpPr>
              <a:xfrm>
                <a:off x="6696329" y="4075740"/>
                <a:ext cx="492115" cy="744765"/>
                <a:chOff x="8227425" y="3994669"/>
                <a:chExt cx="921457" cy="1394524"/>
              </a:xfrm>
            </p:grpSpPr>
            <p:sp>
              <p:nvSpPr>
                <p:cNvPr id="163" name="Овал 2052"/>
                <p:cNvSpPr/>
                <p:nvPr/>
              </p:nvSpPr>
              <p:spPr>
                <a:xfrm rot="531281">
                  <a:off x="8768724" y="4926588"/>
                  <a:ext cx="345871" cy="232885"/>
                </a:xfrm>
                <a:custGeom>
                  <a:avLst/>
                  <a:gdLst>
                    <a:gd name="connsiteX0" fmla="*/ 0 w 471488"/>
                    <a:gd name="connsiteY0" fmla="*/ 107599 h 215197"/>
                    <a:gd name="connsiteX1" fmla="*/ 235744 w 471488"/>
                    <a:gd name="connsiteY1" fmla="*/ 0 h 215197"/>
                    <a:gd name="connsiteX2" fmla="*/ 471488 w 471488"/>
                    <a:gd name="connsiteY2" fmla="*/ 107599 h 215197"/>
                    <a:gd name="connsiteX3" fmla="*/ 235744 w 471488"/>
                    <a:gd name="connsiteY3" fmla="*/ 215198 h 215197"/>
                    <a:gd name="connsiteX4" fmla="*/ 0 w 471488"/>
                    <a:gd name="connsiteY4" fmla="*/ 107599 h 215197"/>
                    <a:gd name="connsiteX0" fmla="*/ 437 w 471925"/>
                    <a:gd name="connsiteY0" fmla="*/ 107884 h 215483"/>
                    <a:gd name="connsiteX1" fmla="*/ 179031 w 471925"/>
                    <a:gd name="connsiteY1" fmla="*/ 77369 h 215483"/>
                    <a:gd name="connsiteX2" fmla="*/ 236181 w 471925"/>
                    <a:gd name="connsiteY2" fmla="*/ 285 h 215483"/>
                    <a:gd name="connsiteX3" fmla="*/ 471925 w 471925"/>
                    <a:gd name="connsiteY3" fmla="*/ 107884 h 215483"/>
                    <a:gd name="connsiteX4" fmla="*/ 236181 w 471925"/>
                    <a:gd name="connsiteY4" fmla="*/ 215483 h 215483"/>
                    <a:gd name="connsiteX5" fmla="*/ 437 w 471925"/>
                    <a:gd name="connsiteY5" fmla="*/ 107884 h 215483"/>
                    <a:gd name="connsiteX0" fmla="*/ 1564 w 473052"/>
                    <a:gd name="connsiteY0" fmla="*/ 110889 h 218488"/>
                    <a:gd name="connsiteX1" fmla="*/ 139677 w 473052"/>
                    <a:gd name="connsiteY1" fmla="*/ 35130 h 218488"/>
                    <a:gd name="connsiteX2" fmla="*/ 237308 w 473052"/>
                    <a:gd name="connsiteY2" fmla="*/ 3290 h 218488"/>
                    <a:gd name="connsiteX3" fmla="*/ 473052 w 473052"/>
                    <a:gd name="connsiteY3" fmla="*/ 110889 h 218488"/>
                    <a:gd name="connsiteX4" fmla="*/ 237308 w 473052"/>
                    <a:gd name="connsiteY4" fmla="*/ 218488 h 218488"/>
                    <a:gd name="connsiteX5" fmla="*/ 1564 w 473052"/>
                    <a:gd name="connsiteY5" fmla="*/ 110889 h 218488"/>
                    <a:gd name="connsiteX0" fmla="*/ 1564 w 506390"/>
                    <a:gd name="connsiteY0" fmla="*/ 113312 h 222188"/>
                    <a:gd name="connsiteX1" fmla="*/ 139677 w 506390"/>
                    <a:gd name="connsiteY1" fmla="*/ 37553 h 222188"/>
                    <a:gd name="connsiteX2" fmla="*/ 237308 w 506390"/>
                    <a:gd name="connsiteY2" fmla="*/ 5713 h 222188"/>
                    <a:gd name="connsiteX3" fmla="*/ 506390 w 506390"/>
                    <a:gd name="connsiteY3" fmla="*/ 151412 h 222188"/>
                    <a:gd name="connsiteX4" fmla="*/ 237308 w 506390"/>
                    <a:gd name="connsiteY4" fmla="*/ 220911 h 222188"/>
                    <a:gd name="connsiteX5" fmla="*/ 1564 w 506390"/>
                    <a:gd name="connsiteY5" fmla="*/ 113312 h 2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6390" h="222188">
                      <a:moveTo>
                        <a:pt x="1564" y="113312"/>
                      </a:moveTo>
                      <a:cubicBezTo>
                        <a:pt x="-14708" y="82752"/>
                        <a:pt x="100386" y="55486"/>
                        <a:pt x="139677" y="37553"/>
                      </a:cubicBezTo>
                      <a:cubicBezTo>
                        <a:pt x="178968" y="19620"/>
                        <a:pt x="176189" y="-13264"/>
                        <a:pt x="237308" y="5713"/>
                      </a:cubicBezTo>
                      <a:cubicBezTo>
                        <a:pt x="298427" y="24690"/>
                        <a:pt x="506390" y="91987"/>
                        <a:pt x="506390" y="151412"/>
                      </a:cubicBezTo>
                      <a:cubicBezTo>
                        <a:pt x="506390" y="210837"/>
                        <a:pt x="321446" y="227261"/>
                        <a:pt x="237308" y="220911"/>
                      </a:cubicBezTo>
                      <a:cubicBezTo>
                        <a:pt x="153170" y="214561"/>
                        <a:pt x="17836" y="143872"/>
                        <a:pt x="1564" y="11331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64" name="Овал 2052"/>
                <p:cNvSpPr/>
                <p:nvPr/>
              </p:nvSpPr>
              <p:spPr>
                <a:xfrm rot="20782258">
                  <a:off x="8227425" y="5167003"/>
                  <a:ext cx="506388" cy="222190"/>
                </a:xfrm>
                <a:custGeom>
                  <a:avLst/>
                  <a:gdLst>
                    <a:gd name="connsiteX0" fmla="*/ 0 w 471488"/>
                    <a:gd name="connsiteY0" fmla="*/ 107599 h 215197"/>
                    <a:gd name="connsiteX1" fmla="*/ 235744 w 471488"/>
                    <a:gd name="connsiteY1" fmla="*/ 0 h 215197"/>
                    <a:gd name="connsiteX2" fmla="*/ 471488 w 471488"/>
                    <a:gd name="connsiteY2" fmla="*/ 107599 h 215197"/>
                    <a:gd name="connsiteX3" fmla="*/ 235744 w 471488"/>
                    <a:gd name="connsiteY3" fmla="*/ 215198 h 215197"/>
                    <a:gd name="connsiteX4" fmla="*/ 0 w 471488"/>
                    <a:gd name="connsiteY4" fmla="*/ 107599 h 215197"/>
                    <a:gd name="connsiteX0" fmla="*/ 437 w 471925"/>
                    <a:gd name="connsiteY0" fmla="*/ 107884 h 215483"/>
                    <a:gd name="connsiteX1" fmla="*/ 179031 w 471925"/>
                    <a:gd name="connsiteY1" fmla="*/ 77369 h 215483"/>
                    <a:gd name="connsiteX2" fmla="*/ 236181 w 471925"/>
                    <a:gd name="connsiteY2" fmla="*/ 285 h 215483"/>
                    <a:gd name="connsiteX3" fmla="*/ 471925 w 471925"/>
                    <a:gd name="connsiteY3" fmla="*/ 107884 h 215483"/>
                    <a:gd name="connsiteX4" fmla="*/ 236181 w 471925"/>
                    <a:gd name="connsiteY4" fmla="*/ 215483 h 215483"/>
                    <a:gd name="connsiteX5" fmla="*/ 437 w 471925"/>
                    <a:gd name="connsiteY5" fmla="*/ 107884 h 215483"/>
                    <a:gd name="connsiteX0" fmla="*/ 1564 w 473052"/>
                    <a:gd name="connsiteY0" fmla="*/ 110889 h 218488"/>
                    <a:gd name="connsiteX1" fmla="*/ 139677 w 473052"/>
                    <a:gd name="connsiteY1" fmla="*/ 35130 h 218488"/>
                    <a:gd name="connsiteX2" fmla="*/ 237308 w 473052"/>
                    <a:gd name="connsiteY2" fmla="*/ 3290 h 218488"/>
                    <a:gd name="connsiteX3" fmla="*/ 473052 w 473052"/>
                    <a:gd name="connsiteY3" fmla="*/ 110889 h 218488"/>
                    <a:gd name="connsiteX4" fmla="*/ 237308 w 473052"/>
                    <a:gd name="connsiteY4" fmla="*/ 218488 h 218488"/>
                    <a:gd name="connsiteX5" fmla="*/ 1564 w 473052"/>
                    <a:gd name="connsiteY5" fmla="*/ 110889 h 218488"/>
                    <a:gd name="connsiteX0" fmla="*/ 1564 w 506390"/>
                    <a:gd name="connsiteY0" fmla="*/ 113312 h 222188"/>
                    <a:gd name="connsiteX1" fmla="*/ 139677 w 506390"/>
                    <a:gd name="connsiteY1" fmla="*/ 37553 h 222188"/>
                    <a:gd name="connsiteX2" fmla="*/ 237308 w 506390"/>
                    <a:gd name="connsiteY2" fmla="*/ 5713 h 222188"/>
                    <a:gd name="connsiteX3" fmla="*/ 506390 w 506390"/>
                    <a:gd name="connsiteY3" fmla="*/ 151412 h 222188"/>
                    <a:gd name="connsiteX4" fmla="*/ 237308 w 506390"/>
                    <a:gd name="connsiteY4" fmla="*/ 220911 h 222188"/>
                    <a:gd name="connsiteX5" fmla="*/ 1564 w 506390"/>
                    <a:gd name="connsiteY5" fmla="*/ 113312 h 22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6390" h="222188">
                      <a:moveTo>
                        <a:pt x="1564" y="113312"/>
                      </a:moveTo>
                      <a:cubicBezTo>
                        <a:pt x="-14708" y="82752"/>
                        <a:pt x="100386" y="55486"/>
                        <a:pt x="139677" y="37553"/>
                      </a:cubicBezTo>
                      <a:cubicBezTo>
                        <a:pt x="178968" y="19620"/>
                        <a:pt x="176189" y="-13264"/>
                        <a:pt x="237308" y="5713"/>
                      </a:cubicBezTo>
                      <a:cubicBezTo>
                        <a:pt x="298427" y="24690"/>
                        <a:pt x="506390" y="91987"/>
                        <a:pt x="506390" y="151412"/>
                      </a:cubicBezTo>
                      <a:cubicBezTo>
                        <a:pt x="506390" y="210837"/>
                        <a:pt x="321446" y="227261"/>
                        <a:pt x="237308" y="220911"/>
                      </a:cubicBezTo>
                      <a:cubicBezTo>
                        <a:pt x="153170" y="214561"/>
                        <a:pt x="17836" y="143872"/>
                        <a:pt x="1564" y="113312"/>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65" name="Полилиния 164"/>
                <p:cNvSpPr/>
                <p:nvPr/>
              </p:nvSpPr>
              <p:spPr>
                <a:xfrm>
                  <a:off x="8308015" y="3994669"/>
                  <a:ext cx="840867" cy="1322570"/>
                </a:xfrm>
                <a:custGeom>
                  <a:avLst/>
                  <a:gdLst>
                    <a:gd name="connsiteX0" fmla="*/ 594360 w 840868"/>
                    <a:gd name="connsiteY0" fmla="*/ 0 h 1322572"/>
                    <a:gd name="connsiteX1" fmla="*/ 579120 w 840868"/>
                    <a:gd name="connsiteY1" fmla="*/ 297180 h 1322572"/>
                    <a:gd name="connsiteX2" fmla="*/ 708660 w 840868"/>
                    <a:gd name="connsiteY2" fmla="*/ 457200 h 1322572"/>
                    <a:gd name="connsiteX3" fmla="*/ 822960 w 840868"/>
                    <a:gd name="connsiteY3" fmla="*/ 944880 h 1322572"/>
                    <a:gd name="connsiteX4" fmla="*/ 820170 w 840868"/>
                    <a:gd name="connsiteY4" fmla="*/ 947979 h 1322572"/>
                    <a:gd name="connsiteX5" fmla="*/ 834040 w 840868"/>
                    <a:gd name="connsiteY5" fmla="*/ 973795 h 1322572"/>
                    <a:gd name="connsiteX6" fmla="*/ 838657 w 840868"/>
                    <a:gd name="connsiteY6" fmla="*/ 1027371 h 1322572"/>
                    <a:gd name="connsiteX7" fmla="*/ 599662 w 840868"/>
                    <a:gd name="connsiteY7" fmla="*/ 1105509 h 1322572"/>
                    <a:gd name="connsiteX8" fmla="*/ 460944 w 840868"/>
                    <a:gd name="connsiteY8" fmla="*/ 1033116 h 1322572"/>
                    <a:gd name="connsiteX9" fmla="*/ 447653 w 840868"/>
                    <a:gd name="connsiteY9" fmla="*/ 1013740 h 1322572"/>
                    <a:gd name="connsiteX10" fmla="*/ 487063 w 840868"/>
                    <a:gd name="connsiteY10" fmla="*/ 886908 h 1322572"/>
                    <a:gd name="connsiteX11" fmla="*/ 441960 w 840868"/>
                    <a:gd name="connsiteY11" fmla="*/ 548640 h 1322572"/>
                    <a:gd name="connsiteX12" fmla="*/ 350520 w 840868"/>
                    <a:gd name="connsiteY12" fmla="*/ 121920 h 1322572"/>
                    <a:gd name="connsiteX13" fmla="*/ 243840 w 840868"/>
                    <a:gd name="connsiteY13" fmla="*/ 525780 h 1322572"/>
                    <a:gd name="connsiteX14" fmla="*/ 312420 w 840868"/>
                    <a:gd name="connsiteY14" fmla="*/ 647700 h 1322572"/>
                    <a:gd name="connsiteX15" fmla="*/ 379294 w 840868"/>
                    <a:gd name="connsiteY15" fmla="*/ 1121899 h 1322572"/>
                    <a:gd name="connsiteX16" fmla="*/ 399606 w 840868"/>
                    <a:gd name="connsiteY16" fmla="*/ 1140323 h 1322572"/>
                    <a:gd name="connsiteX17" fmla="*/ 416463 w 840868"/>
                    <a:gd name="connsiteY17" fmla="*/ 1191386 h 1322572"/>
                    <a:gd name="connsiteX18" fmla="*/ 201953 w 840868"/>
                    <a:gd name="connsiteY18" fmla="*/ 1322572 h 1322572"/>
                    <a:gd name="connsiteX19" fmla="*/ 50272 w 840868"/>
                    <a:gd name="connsiteY19" fmla="*/ 1284149 h 1322572"/>
                    <a:gd name="connsiteX20" fmla="*/ 32868 w 840868"/>
                    <a:gd name="connsiteY20" fmla="*/ 1268363 h 1322572"/>
                    <a:gd name="connsiteX21" fmla="*/ 39900 w 840868"/>
                    <a:gd name="connsiteY21" fmla="*/ 1165693 h 1322572"/>
                    <a:gd name="connsiteX22" fmla="*/ 68580 w 840868"/>
                    <a:gd name="connsiteY22" fmla="*/ 434340 h 1322572"/>
                    <a:gd name="connsiteX23" fmla="*/ 53340 w 840868"/>
                    <a:gd name="connsiteY23" fmla="*/ 441960 h 1322572"/>
                    <a:gd name="connsiteX24" fmla="*/ 30480 w 840868"/>
                    <a:gd name="connsiteY24" fmla="*/ 434340 h 1322572"/>
                    <a:gd name="connsiteX25" fmla="*/ 0 w 840868"/>
                    <a:gd name="connsiteY25" fmla="*/ 106680 h 1322572"/>
                    <a:gd name="connsiteX0" fmla="*/ 594360 w 840868"/>
                    <a:gd name="connsiteY0" fmla="*/ 0 h 1322572"/>
                    <a:gd name="connsiteX1" fmla="*/ 579120 w 840868"/>
                    <a:gd name="connsiteY1" fmla="*/ 297180 h 1322572"/>
                    <a:gd name="connsiteX2" fmla="*/ 708660 w 840868"/>
                    <a:gd name="connsiteY2" fmla="*/ 457200 h 1322572"/>
                    <a:gd name="connsiteX3" fmla="*/ 822960 w 840868"/>
                    <a:gd name="connsiteY3" fmla="*/ 944880 h 1322572"/>
                    <a:gd name="connsiteX4" fmla="*/ 820170 w 840868"/>
                    <a:gd name="connsiteY4" fmla="*/ 947979 h 1322572"/>
                    <a:gd name="connsiteX5" fmla="*/ 834040 w 840868"/>
                    <a:gd name="connsiteY5" fmla="*/ 973795 h 1322572"/>
                    <a:gd name="connsiteX6" fmla="*/ 838657 w 840868"/>
                    <a:gd name="connsiteY6" fmla="*/ 1027371 h 1322572"/>
                    <a:gd name="connsiteX7" fmla="*/ 599662 w 840868"/>
                    <a:gd name="connsiteY7" fmla="*/ 1105509 h 1322572"/>
                    <a:gd name="connsiteX8" fmla="*/ 460944 w 840868"/>
                    <a:gd name="connsiteY8" fmla="*/ 1033116 h 1322572"/>
                    <a:gd name="connsiteX9" fmla="*/ 447653 w 840868"/>
                    <a:gd name="connsiteY9" fmla="*/ 1013740 h 1322572"/>
                    <a:gd name="connsiteX10" fmla="*/ 487063 w 840868"/>
                    <a:gd name="connsiteY10" fmla="*/ 886908 h 1322572"/>
                    <a:gd name="connsiteX11" fmla="*/ 441960 w 840868"/>
                    <a:gd name="connsiteY11" fmla="*/ 548640 h 1322572"/>
                    <a:gd name="connsiteX12" fmla="*/ 350520 w 840868"/>
                    <a:gd name="connsiteY12" fmla="*/ 121920 h 1322572"/>
                    <a:gd name="connsiteX13" fmla="*/ 243840 w 840868"/>
                    <a:gd name="connsiteY13" fmla="*/ 525780 h 1322572"/>
                    <a:gd name="connsiteX14" fmla="*/ 312420 w 840868"/>
                    <a:gd name="connsiteY14" fmla="*/ 647700 h 1322572"/>
                    <a:gd name="connsiteX15" fmla="*/ 379294 w 840868"/>
                    <a:gd name="connsiteY15" fmla="*/ 1121899 h 1322572"/>
                    <a:gd name="connsiteX16" fmla="*/ 399606 w 840868"/>
                    <a:gd name="connsiteY16" fmla="*/ 1140323 h 1322572"/>
                    <a:gd name="connsiteX17" fmla="*/ 416463 w 840868"/>
                    <a:gd name="connsiteY17" fmla="*/ 1191386 h 1322572"/>
                    <a:gd name="connsiteX18" fmla="*/ 201953 w 840868"/>
                    <a:gd name="connsiteY18" fmla="*/ 1322572 h 1322572"/>
                    <a:gd name="connsiteX19" fmla="*/ 50272 w 840868"/>
                    <a:gd name="connsiteY19" fmla="*/ 1284149 h 1322572"/>
                    <a:gd name="connsiteX20" fmla="*/ 32868 w 840868"/>
                    <a:gd name="connsiteY20" fmla="*/ 1268363 h 1322572"/>
                    <a:gd name="connsiteX21" fmla="*/ 39900 w 840868"/>
                    <a:gd name="connsiteY21" fmla="*/ 1165693 h 1322572"/>
                    <a:gd name="connsiteX22" fmla="*/ 56674 w 840868"/>
                    <a:gd name="connsiteY22" fmla="*/ 462915 h 1322572"/>
                    <a:gd name="connsiteX23" fmla="*/ 53340 w 840868"/>
                    <a:gd name="connsiteY23" fmla="*/ 441960 h 1322572"/>
                    <a:gd name="connsiteX24" fmla="*/ 30480 w 840868"/>
                    <a:gd name="connsiteY24" fmla="*/ 434340 h 1322572"/>
                    <a:gd name="connsiteX25" fmla="*/ 0 w 840868"/>
                    <a:gd name="connsiteY25" fmla="*/ 106680 h 1322572"/>
                    <a:gd name="connsiteX26" fmla="*/ 594360 w 840868"/>
                    <a:gd name="connsiteY26" fmla="*/ 0 h 1322572"/>
                    <a:gd name="connsiteX0" fmla="*/ 594360 w 840868"/>
                    <a:gd name="connsiteY0" fmla="*/ 0 h 1322572"/>
                    <a:gd name="connsiteX1" fmla="*/ 579120 w 840868"/>
                    <a:gd name="connsiteY1" fmla="*/ 297180 h 1322572"/>
                    <a:gd name="connsiteX2" fmla="*/ 708660 w 840868"/>
                    <a:gd name="connsiteY2" fmla="*/ 457200 h 1322572"/>
                    <a:gd name="connsiteX3" fmla="*/ 822960 w 840868"/>
                    <a:gd name="connsiteY3" fmla="*/ 944880 h 1322572"/>
                    <a:gd name="connsiteX4" fmla="*/ 820170 w 840868"/>
                    <a:gd name="connsiteY4" fmla="*/ 947979 h 1322572"/>
                    <a:gd name="connsiteX5" fmla="*/ 834040 w 840868"/>
                    <a:gd name="connsiteY5" fmla="*/ 973795 h 1322572"/>
                    <a:gd name="connsiteX6" fmla="*/ 838657 w 840868"/>
                    <a:gd name="connsiteY6" fmla="*/ 1027371 h 1322572"/>
                    <a:gd name="connsiteX7" fmla="*/ 599662 w 840868"/>
                    <a:gd name="connsiteY7" fmla="*/ 1105509 h 1322572"/>
                    <a:gd name="connsiteX8" fmla="*/ 460944 w 840868"/>
                    <a:gd name="connsiteY8" fmla="*/ 1033116 h 1322572"/>
                    <a:gd name="connsiteX9" fmla="*/ 447653 w 840868"/>
                    <a:gd name="connsiteY9" fmla="*/ 1013740 h 1322572"/>
                    <a:gd name="connsiteX10" fmla="*/ 487063 w 840868"/>
                    <a:gd name="connsiteY10" fmla="*/ 886908 h 1322572"/>
                    <a:gd name="connsiteX11" fmla="*/ 441960 w 840868"/>
                    <a:gd name="connsiteY11" fmla="*/ 548640 h 1322572"/>
                    <a:gd name="connsiteX12" fmla="*/ 350520 w 840868"/>
                    <a:gd name="connsiteY12" fmla="*/ 121920 h 1322572"/>
                    <a:gd name="connsiteX13" fmla="*/ 243840 w 840868"/>
                    <a:gd name="connsiteY13" fmla="*/ 525780 h 1322572"/>
                    <a:gd name="connsiteX14" fmla="*/ 312420 w 840868"/>
                    <a:gd name="connsiteY14" fmla="*/ 647700 h 1322572"/>
                    <a:gd name="connsiteX15" fmla="*/ 379294 w 840868"/>
                    <a:gd name="connsiteY15" fmla="*/ 1121899 h 1322572"/>
                    <a:gd name="connsiteX16" fmla="*/ 399606 w 840868"/>
                    <a:gd name="connsiteY16" fmla="*/ 1140323 h 1322572"/>
                    <a:gd name="connsiteX17" fmla="*/ 416463 w 840868"/>
                    <a:gd name="connsiteY17" fmla="*/ 1191386 h 1322572"/>
                    <a:gd name="connsiteX18" fmla="*/ 201953 w 840868"/>
                    <a:gd name="connsiteY18" fmla="*/ 1322572 h 1322572"/>
                    <a:gd name="connsiteX19" fmla="*/ 50272 w 840868"/>
                    <a:gd name="connsiteY19" fmla="*/ 1284149 h 1322572"/>
                    <a:gd name="connsiteX20" fmla="*/ 32868 w 840868"/>
                    <a:gd name="connsiteY20" fmla="*/ 1268363 h 1322572"/>
                    <a:gd name="connsiteX21" fmla="*/ 39900 w 840868"/>
                    <a:gd name="connsiteY21" fmla="*/ 1165693 h 1322572"/>
                    <a:gd name="connsiteX22" fmla="*/ 56674 w 840868"/>
                    <a:gd name="connsiteY22" fmla="*/ 462915 h 1322572"/>
                    <a:gd name="connsiteX23" fmla="*/ 53340 w 840868"/>
                    <a:gd name="connsiteY23" fmla="*/ 441960 h 1322572"/>
                    <a:gd name="connsiteX24" fmla="*/ 37623 w 840868"/>
                    <a:gd name="connsiteY24" fmla="*/ 415290 h 1322572"/>
                    <a:gd name="connsiteX25" fmla="*/ 0 w 840868"/>
                    <a:gd name="connsiteY25" fmla="*/ 106680 h 1322572"/>
                    <a:gd name="connsiteX26" fmla="*/ 594360 w 840868"/>
                    <a:gd name="connsiteY26" fmla="*/ 0 h 132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40868" h="1322572">
                      <a:moveTo>
                        <a:pt x="594360" y="0"/>
                      </a:moveTo>
                      <a:lnTo>
                        <a:pt x="579120" y="297180"/>
                      </a:lnTo>
                      <a:lnTo>
                        <a:pt x="708660" y="457200"/>
                      </a:lnTo>
                      <a:lnTo>
                        <a:pt x="822960" y="944880"/>
                      </a:lnTo>
                      <a:lnTo>
                        <a:pt x="820170" y="947979"/>
                      </a:lnTo>
                      <a:lnTo>
                        <a:pt x="834040" y="973795"/>
                      </a:lnTo>
                      <a:cubicBezTo>
                        <a:pt x="840979" y="991571"/>
                        <a:pt x="842837" y="1009747"/>
                        <a:pt x="838657" y="1027371"/>
                      </a:cubicBezTo>
                      <a:cubicBezTo>
                        <a:pt x="821936" y="1097867"/>
                        <a:pt x="714935" y="1132851"/>
                        <a:pt x="599662" y="1105509"/>
                      </a:cubicBezTo>
                      <a:cubicBezTo>
                        <a:pt x="542026" y="1091838"/>
                        <a:pt x="493235" y="1065175"/>
                        <a:pt x="460944" y="1033116"/>
                      </a:cubicBezTo>
                      <a:lnTo>
                        <a:pt x="447653" y="1013740"/>
                      </a:lnTo>
                      <a:lnTo>
                        <a:pt x="487063" y="886908"/>
                      </a:lnTo>
                      <a:lnTo>
                        <a:pt x="441960" y="548640"/>
                      </a:lnTo>
                      <a:lnTo>
                        <a:pt x="350520" y="121920"/>
                      </a:lnTo>
                      <a:lnTo>
                        <a:pt x="243840" y="525780"/>
                      </a:lnTo>
                      <a:lnTo>
                        <a:pt x="312420" y="647700"/>
                      </a:lnTo>
                      <a:lnTo>
                        <a:pt x="379294" y="1121899"/>
                      </a:lnTo>
                      <a:lnTo>
                        <a:pt x="399606" y="1140323"/>
                      </a:lnTo>
                      <a:cubicBezTo>
                        <a:pt x="410461" y="1156018"/>
                        <a:pt x="416463" y="1173273"/>
                        <a:pt x="416463" y="1191386"/>
                      </a:cubicBezTo>
                      <a:cubicBezTo>
                        <a:pt x="416463" y="1263838"/>
                        <a:pt x="320424" y="1322572"/>
                        <a:pt x="201953" y="1322572"/>
                      </a:cubicBezTo>
                      <a:cubicBezTo>
                        <a:pt x="142718" y="1322572"/>
                        <a:pt x="89090" y="1307889"/>
                        <a:pt x="50272" y="1284149"/>
                      </a:cubicBezTo>
                      <a:lnTo>
                        <a:pt x="32868" y="1268363"/>
                      </a:lnTo>
                      <a:lnTo>
                        <a:pt x="39900" y="1165693"/>
                      </a:lnTo>
                      <a:cubicBezTo>
                        <a:pt x="49460" y="921909"/>
                        <a:pt x="47114" y="706699"/>
                        <a:pt x="56674" y="462915"/>
                      </a:cubicBezTo>
                      <a:cubicBezTo>
                        <a:pt x="56674" y="465455"/>
                        <a:pt x="59690" y="441960"/>
                        <a:pt x="53340" y="441960"/>
                      </a:cubicBezTo>
                      <a:cubicBezTo>
                        <a:pt x="46990" y="441960"/>
                        <a:pt x="38885" y="423222"/>
                        <a:pt x="37623" y="415290"/>
                      </a:cubicBezTo>
                      <a:cubicBezTo>
                        <a:pt x="20389" y="306961"/>
                        <a:pt x="10160" y="215900"/>
                        <a:pt x="0" y="106680"/>
                      </a:cubicBezTo>
                      <a:lnTo>
                        <a:pt x="594360" y="0"/>
                      </a:lnTo>
                      <a:close/>
                    </a:path>
                  </a:pathLst>
                </a:custGeom>
                <a:solidFill>
                  <a:srgbClr val="4D535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66" name="Полилиния 165"/>
                <p:cNvSpPr/>
                <p:nvPr/>
              </p:nvSpPr>
              <p:spPr>
                <a:xfrm>
                  <a:off x="8655428" y="4096653"/>
                  <a:ext cx="233940" cy="997943"/>
                </a:xfrm>
                <a:custGeom>
                  <a:avLst/>
                  <a:gdLst>
                    <a:gd name="connsiteX0" fmla="*/ 160914 w 160914"/>
                    <a:gd name="connsiteY0" fmla="*/ 0 h 1096369"/>
                    <a:gd name="connsiteX1" fmla="*/ 160914 w 160914"/>
                    <a:gd name="connsiteY1" fmla="*/ 251398 h 1096369"/>
                    <a:gd name="connsiteX2" fmla="*/ 158686 w 160914"/>
                    <a:gd name="connsiteY2" fmla="*/ 294844 h 1096369"/>
                    <a:gd name="connsiteX3" fmla="*/ 160914 w 160914"/>
                    <a:gd name="connsiteY3" fmla="*/ 297596 h 1096369"/>
                    <a:gd name="connsiteX4" fmla="*/ 160914 w 160914"/>
                    <a:gd name="connsiteY4" fmla="*/ 1096369 h 1096369"/>
                    <a:gd name="connsiteX5" fmla="*/ 100365 w 160914"/>
                    <a:gd name="connsiteY5" fmla="*/ 1073872 h 1096369"/>
                    <a:gd name="connsiteX6" fmla="*/ 40510 w 160914"/>
                    <a:gd name="connsiteY6" fmla="*/ 1030780 h 1096369"/>
                    <a:gd name="connsiteX7" fmla="*/ 27219 w 160914"/>
                    <a:gd name="connsiteY7" fmla="*/ 1011404 h 1096369"/>
                    <a:gd name="connsiteX8" fmla="*/ 66629 w 160914"/>
                    <a:gd name="connsiteY8" fmla="*/ 884572 h 1096369"/>
                    <a:gd name="connsiteX9" fmla="*/ 21526 w 160914"/>
                    <a:gd name="connsiteY9" fmla="*/ 546304 h 1096369"/>
                    <a:gd name="connsiteX10" fmla="*/ 0 w 160914"/>
                    <a:gd name="connsiteY10" fmla="*/ 445849 h 1096369"/>
                    <a:gd name="connsiteX11" fmla="*/ 0 w 160914"/>
                    <a:gd name="connsiteY11" fmla="*/ 28882 h 1096369"/>
                    <a:gd name="connsiteX0" fmla="*/ 233939 w 233939"/>
                    <a:gd name="connsiteY0" fmla="*/ 0 h 1096369"/>
                    <a:gd name="connsiteX1" fmla="*/ 233939 w 233939"/>
                    <a:gd name="connsiteY1" fmla="*/ 251398 h 1096369"/>
                    <a:gd name="connsiteX2" fmla="*/ 231711 w 233939"/>
                    <a:gd name="connsiteY2" fmla="*/ 294844 h 1096369"/>
                    <a:gd name="connsiteX3" fmla="*/ 233939 w 233939"/>
                    <a:gd name="connsiteY3" fmla="*/ 297596 h 1096369"/>
                    <a:gd name="connsiteX4" fmla="*/ 233939 w 233939"/>
                    <a:gd name="connsiteY4" fmla="*/ 1096369 h 1096369"/>
                    <a:gd name="connsiteX5" fmla="*/ 173390 w 233939"/>
                    <a:gd name="connsiteY5" fmla="*/ 1073872 h 1096369"/>
                    <a:gd name="connsiteX6" fmla="*/ 113535 w 233939"/>
                    <a:gd name="connsiteY6" fmla="*/ 1030780 h 1096369"/>
                    <a:gd name="connsiteX7" fmla="*/ 100244 w 233939"/>
                    <a:gd name="connsiteY7" fmla="*/ 1011404 h 1096369"/>
                    <a:gd name="connsiteX8" fmla="*/ 139654 w 233939"/>
                    <a:gd name="connsiteY8" fmla="*/ 884572 h 1096369"/>
                    <a:gd name="connsiteX9" fmla="*/ 94551 w 233939"/>
                    <a:gd name="connsiteY9" fmla="*/ 546304 h 1096369"/>
                    <a:gd name="connsiteX10" fmla="*/ 73025 w 233939"/>
                    <a:gd name="connsiteY10" fmla="*/ 445849 h 1096369"/>
                    <a:gd name="connsiteX11" fmla="*/ 0 w 233939"/>
                    <a:gd name="connsiteY11" fmla="*/ 105082 h 1096369"/>
                    <a:gd name="connsiteX12" fmla="*/ 233939 w 233939"/>
                    <a:gd name="connsiteY12" fmla="*/ 0 h 1096369"/>
                    <a:gd name="connsiteX0" fmla="*/ 30739 w 233939"/>
                    <a:gd name="connsiteY0" fmla="*/ 0 h 997944"/>
                    <a:gd name="connsiteX1" fmla="*/ 233939 w 233939"/>
                    <a:gd name="connsiteY1" fmla="*/ 152973 h 997944"/>
                    <a:gd name="connsiteX2" fmla="*/ 231711 w 233939"/>
                    <a:gd name="connsiteY2" fmla="*/ 196419 h 997944"/>
                    <a:gd name="connsiteX3" fmla="*/ 233939 w 233939"/>
                    <a:gd name="connsiteY3" fmla="*/ 199171 h 997944"/>
                    <a:gd name="connsiteX4" fmla="*/ 233939 w 233939"/>
                    <a:gd name="connsiteY4" fmla="*/ 997944 h 997944"/>
                    <a:gd name="connsiteX5" fmla="*/ 173390 w 233939"/>
                    <a:gd name="connsiteY5" fmla="*/ 975447 h 997944"/>
                    <a:gd name="connsiteX6" fmla="*/ 113535 w 233939"/>
                    <a:gd name="connsiteY6" fmla="*/ 932355 h 997944"/>
                    <a:gd name="connsiteX7" fmla="*/ 100244 w 233939"/>
                    <a:gd name="connsiteY7" fmla="*/ 912979 h 997944"/>
                    <a:gd name="connsiteX8" fmla="*/ 139654 w 233939"/>
                    <a:gd name="connsiteY8" fmla="*/ 786147 h 997944"/>
                    <a:gd name="connsiteX9" fmla="*/ 94551 w 233939"/>
                    <a:gd name="connsiteY9" fmla="*/ 447879 h 997944"/>
                    <a:gd name="connsiteX10" fmla="*/ 73025 w 233939"/>
                    <a:gd name="connsiteY10" fmla="*/ 347424 h 997944"/>
                    <a:gd name="connsiteX11" fmla="*/ 0 w 233939"/>
                    <a:gd name="connsiteY11" fmla="*/ 6657 h 997944"/>
                    <a:gd name="connsiteX12" fmla="*/ 30739 w 233939"/>
                    <a:gd name="connsiteY12" fmla="*/ 0 h 997944"/>
                    <a:gd name="connsiteX0" fmla="*/ 30739 w 233939"/>
                    <a:gd name="connsiteY0" fmla="*/ 0 h 997944"/>
                    <a:gd name="connsiteX1" fmla="*/ 119639 w 233939"/>
                    <a:gd name="connsiteY1" fmla="*/ 178373 h 997944"/>
                    <a:gd name="connsiteX2" fmla="*/ 231711 w 233939"/>
                    <a:gd name="connsiteY2" fmla="*/ 196419 h 997944"/>
                    <a:gd name="connsiteX3" fmla="*/ 233939 w 233939"/>
                    <a:gd name="connsiteY3" fmla="*/ 199171 h 997944"/>
                    <a:gd name="connsiteX4" fmla="*/ 233939 w 233939"/>
                    <a:gd name="connsiteY4" fmla="*/ 997944 h 997944"/>
                    <a:gd name="connsiteX5" fmla="*/ 173390 w 233939"/>
                    <a:gd name="connsiteY5" fmla="*/ 975447 h 997944"/>
                    <a:gd name="connsiteX6" fmla="*/ 113535 w 233939"/>
                    <a:gd name="connsiteY6" fmla="*/ 932355 h 997944"/>
                    <a:gd name="connsiteX7" fmla="*/ 100244 w 233939"/>
                    <a:gd name="connsiteY7" fmla="*/ 912979 h 997944"/>
                    <a:gd name="connsiteX8" fmla="*/ 139654 w 233939"/>
                    <a:gd name="connsiteY8" fmla="*/ 786147 h 997944"/>
                    <a:gd name="connsiteX9" fmla="*/ 94551 w 233939"/>
                    <a:gd name="connsiteY9" fmla="*/ 447879 h 997944"/>
                    <a:gd name="connsiteX10" fmla="*/ 73025 w 233939"/>
                    <a:gd name="connsiteY10" fmla="*/ 347424 h 997944"/>
                    <a:gd name="connsiteX11" fmla="*/ 0 w 233939"/>
                    <a:gd name="connsiteY11" fmla="*/ 6657 h 997944"/>
                    <a:gd name="connsiteX12" fmla="*/ 30739 w 233939"/>
                    <a:gd name="connsiteY12" fmla="*/ 0 h 997944"/>
                    <a:gd name="connsiteX0" fmla="*/ 30739 w 233939"/>
                    <a:gd name="connsiteY0" fmla="*/ 0 h 997944"/>
                    <a:gd name="connsiteX1" fmla="*/ 119639 w 233939"/>
                    <a:gd name="connsiteY1" fmla="*/ 178373 h 997944"/>
                    <a:gd name="connsiteX2" fmla="*/ 231711 w 233939"/>
                    <a:gd name="connsiteY2" fmla="*/ 196419 h 997944"/>
                    <a:gd name="connsiteX3" fmla="*/ 135514 w 233939"/>
                    <a:gd name="connsiteY3" fmla="*/ 269021 h 997944"/>
                    <a:gd name="connsiteX4" fmla="*/ 233939 w 233939"/>
                    <a:gd name="connsiteY4" fmla="*/ 997944 h 997944"/>
                    <a:gd name="connsiteX5" fmla="*/ 173390 w 233939"/>
                    <a:gd name="connsiteY5" fmla="*/ 975447 h 997944"/>
                    <a:gd name="connsiteX6" fmla="*/ 113535 w 233939"/>
                    <a:gd name="connsiteY6" fmla="*/ 932355 h 997944"/>
                    <a:gd name="connsiteX7" fmla="*/ 100244 w 233939"/>
                    <a:gd name="connsiteY7" fmla="*/ 912979 h 997944"/>
                    <a:gd name="connsiteX8" fmla="*/ 139654 w 233939"/>
                    <a:gd name="connsiteY8" fmla="*/ 786147 h 997944"/>
                    <a:gd name="connsiteX9" fmla="*/ 94551 w 233939"/>
                    <a:gd name="connsiteY9" fmla="*/ 447879 h 997944"/>
                    <a:gd name="connsiteX10" fmla="*/ 73025 w 233939"/>
                    <a:gd name="connsiteY10" fmla="*/ 347424 h 997944"/>
                    <a:gd name="connsiteX11" fmla="*/ 0 w 233939"/>
                    <a:gd name="connsiteY11" fmla="*/ 6657 h 997944"/>
                    <a:gd name="connsiteX12" fmla="*/ 30739 w 233939"/>
                    <a:gd name="connsiteY12" fmla="*/ 0 h 997944"/>
                    <a:gd name="connsiteX0" fmla="*/ 30739 w 233939"/>
                    <a:gd name="connsiteY0" fmla="*/ 0 h 997944"/>
                    <a:gd name="connsiteX1" fmla="*/ 119639 w 233939"/>
                    <a:gd name="connsiteY1" fmla="*/ 178373 h 997944"/>
                    <a:gd name="connsiteX2" fmla="*/ 123761 w 233939"/>
                    <a:gd name="connsiteY2" fmla="*/ 212294 h 997944"/>
                    <a:gd name="connsiteX3" fmla="*/ 135514 w 233939"/>
                    <a:gd name="connsiteY3" fmla="*/ 269021 h 997944"/>
                    <a:gd name="connsiteX4" fmla="*/ 233939 w 233939"/>
                    <a:gd name="connsiteY4" fmla="*/ 997944 h 997944"/>
                    <a:gd name="connsiteX5" fmla="*/ 173390 w 233939"/>
                    <a:gd name="connsiteY5" fmla="*/ 975447 h 997944"/>
                    <a:gd name="connsiteX6" fmla="*/ 113535 w 233939"/>
                    <a:gd name="connsiteY6" fmla="*/ 932355 h 997944"/>
                    <a:gd name="connsiteX7" fmla="*/ 100244 w 233939"/>
                    <a:gd name="connsiteY7" fmla="*/ 912979 h 997944"/>
                    <a:gd name="connsiteX8" fmla="*/ 139654 w 233939"/>
                    <a:gd name="connsiteY8" fmla="*/ 786147 h 997944"/>
                    <a:gd name="connsiteX9" fmla="*/ 94551 w 233939"/>
                    <a:gd name="connsiteY9" fmla="*/ 447879 h 997944"/>
                    <a:gd name="connsiteX10" fmla="*/ 73025 w 233939"/>
                    <a:gd name="connsiteY10" fmla="*/ 347424 h 997944"/>
                    <a:gd name="connsiteX11" fmla="*/ 0 w 233939"/>
                    <a:gd name="connsiteY11" fmla="*/ 6657 h 997944"/>
                    <a:gd name="connsiteX12" fmla="*/ 30739 w 233939"/>
                    <a:gd name="connsiteY12" fmla="*/ 0 h 99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939" h="997944">
                      <a:moveTo>
                        <a:pt x="30739" y="0"/>
                      </a:moveTo>
                      <a:lnTo>
                        <a:pt x="119639" y="178373"/>
                      </a:lnTo>
                      <a:lnTo>
                        <a:pt x="123761" y="212294"/>
                      </a:lnTo>
                      <a:lnTo>
                        <a:pt x="135514" y="269021"/>
                      </a:lnTo>
                      <a:lnTo>
                        <a:pt x="233939" y="997944"/>
                      </a:lnTo>
                      <a:lnTo>
                        <a:pt x="173390" y="975447"/>
                      </a:lnTo>
                      <a:cubicBezTo>
                        <a:pt x="149951" y="963065"/>
                        <a:pt x="129681" y="948385"/>
                        <a:pt x="113535" y="932355"/>
                      </a:cubicBezTo>
                      <a:lnTo>
                        <a:pt x="100244" y="912979"/>
                      </a:lnTo>
                      <a:lnTo>
                        <a:pt x="139654" y="786147"/>
                      </a:lnTo>
                      <a:lnTo>
                        <a:pt x="94551" y="447879"/>
                      </a:lnTo>
                      <a:lnTo>
                        <a:pt x="73025" y="347424"/>
                      </a:lnTo>
                      <a:lnTo>
                        <a:pt x="0" y="6657"/>
                      </a:lnTo>
                      <a:cubicBezTo>
                        <a:pt x="53638" y="-2970"/>
                        <a:pt x="-22899" y="9627"/>
                        <a:pt x="30739" y="0"/>
                      </a:cubicBezTo>
                      <a:close/>
                    </a:path>
                  </a:pathLst>
                </a:custGeom>
                <a:solidFill>
                  <a:srgbClr val="090A0A"/>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160" name="Полилиния 159"/>
              <p:cNvSpPr/>
              <p:nvPr/>
            </p:nvSpPr>
            <p:spPr>
              <a:xfrm>
                <a:off x="6680887" y="3442504"/>
                <a:ext cx="412673" cy="772143"/>
              </a:xfrm>
              <a:custGeom>
                <a:avLst/>
                <a:gdLst>
                  <a:gd name="connsiteX0" fmla="*/ 478619 w 702456"/>
                  <a:gd name="connsiteY0" fmla="*/ 0 h 1343025"/>
                  <a:gd name="connsiteX1" fmla="*/ 631019 w 702456"/>
                  <a:gd name="connsiteY1" fmla="*/ 71437 h 1343025"/>
                  <a:gd name="connsiteX2" fmla="*/ 531006 w 702456"/>
                  <a:gd name="connsiteY2" fmla="*/ 576262 h 1343025"/>
                  <a:gd name="connsiteX3" fmla="*/ 626256 w 702456"/>
                  <a:gd name="connsiteY3" fmla="*/ 619125 h 1343025"/>
                  <a:gd name="connsiteX4" fmla="*/ 559581 w 702456"/>
                  <a:gd name="connsiteY4" fmla="*/ 838200 h 1343025"/>
                  <a:gd name="connsiteX5" fmla="*/ 702456 w 702456"/>
                  <a:gd name="connsiteY5" fmla="*/ 1138237 h 1343025"/>
                  <a:gd name="connsiteX6" fmla="*/ 578631 w 702456"/>
                  <a:gd name="connsiteY6" fmla="*/ 1243012 h 1343025"/>
                  <a:gd name="connsiteX7" fmla="*/ 483381 w 702456"/>
                  <a:gd name="connsiteY7" fmla="*/ 1143000 h 1343025"/>
                  <a:gd name="connsiteX8" fmla="*/ 507194 w 702456"/>
                  <a:gd name="connsiteY8" fmla="*/ 1266825 h 1343025"/>
                  <a:gd name="connsiteX9" fmla="*/ 173819 w 702456"/>
                  <a:gd name="connsiteY9" fmla="*/ 1343025 h 1343025"/>
                  <a:gd name="connsiteX10" fmla="*/ 0 w 702456"/>
                  <a:gd name="connsiteY10" fmla="*/ 1281223 h 1343025"/>
                  <a:gd name="connsiteX11" fmla="*/ 91304 w 702456"/>
                  <a:gd name="connsiteY11" fmla="*/ 972243 h 1343025"/>
                  <a:gd name="connsiteX12" fmla="*/ 85943 w 702456"/>
                  <a:gd name="connsiteY12" fmla="*/ 970659 h 1343025"/>
                  <a:gd name="connsiteX13" fmla="*/ 210051 w 702456"/>
                  <a:gd name="connsiteY13" fmla="*/ 348772 h 1343025"/>
                  <a:gd name="connsiteX14" fmla="*/ 189836 w 702456"/>
                  <a:gd name="connsiteY14" fmla="*/ 344737 h 1343025"/>
                  <a:gd name="connsiteX15" fmla="*/ 59519 w 702456"/>
                  <a:gd name="connsiteY15" fmla="*/ 219075 h 1343025"/>
                  <a:gd name="connsiteX16" fmla="*/ 173819 w 702456"/>
                  <a:gd name="connsiteY16" fmla="*/ 142875 h 1343025"/>
                  <a:gd name="connsiteX17" fmla="*/ 373844 w 702456"/>
                  <a:gd name="connsiteY17" fmla="*/ 142875 h 1343025"/>
                  <a:gd name="connsiteX0" fmla="*/ 478619 w 702456"/>
                  <a:gd name="connsiteY0" fmla="*/ 0 h 1343025"/>
                  <a:gd name="connsiteX1" fmla="*/ 631019 w 702456"/>
                  <a:gd name="connsiteY1" fmla="*/ 71437 h 1343025"/>
                  <a:gd name="connsiteX2" fmla="*/ 531006 w 702456"/>
                  <a:gd name="connsiteY2" fmla="*/ 576262 h 1343025"/>
                  <a:gd name="connsiteX3" fmla="*/ 528120 w 702456"/>
                  <a:gd name="connsiteY3" fmla="*/ 639330 h 1343025"/>
                  <a:gd name="connsiteX4" fmla="*/ 559581 w 702456"/>
                  <a:gd name="connsiteY4" fmla="*/ 838200 h 1343025"/>
                  <a:gd name="connsiteX5" fmla="*/ 702456 w 702456"/>
                  <a:gd name="connsiteY5" fmla="*/ 1138237 h 1343025"/>
                  <a:gd name="connsiteX6" fmla="*/ 578631 w 702456"/>
                  <a:gd name="connsiteY6" fmla="*/ 1243012 h 1343025"/>
                  <a:gd name="connsiteX7" fmla="*/ 483381 w 702456"/>
                  <a:gd name="connsiteY7" fmla="*/ 1143000 h 1343025"/>
                  <a:gd name="connsiteX8" fmla="*/ 507194 w 702456"/>
                  <a:gd name="connsiteY8" fmla="*/ 1266825 h 1343025"/>
                  <a:gd name="connsiteX9" fmla="*/ 173819 w 702456"/>
                  <a:gd name="connsiteY9" fmla="*/ 1343025 h 1343025"/>
                  <a:gd name="connsiteX10" fmla="*/ 0 w 702456"/>
                  <a:gd name="connsiteY10" fmla="*/ 1281223 h 1343025"/>
                  <a:gd name="connsiteX11" fmla="*/ 91304 w 702456"/>
                  <a:gd name="connsiteY11" fmla="*/ 972243 h 1343025"/>
                  <a:gd name="connsiteX12" fmla="*/ 85943 w 702456"/>
                  <a:gd name="connsiteY12" fmla="*/ 970659 h 1343025"/>
                  <a:gd name="connsiteX13" fmla="*/ 210051 w 702456"/>
                  <a:gd name="connsiteY13" fmla="*/ 348772 h 1343025"/>
                  <a:gd name="connsiteX14" fmla="*/ 189836 w 702456"/>
                  <a:gd name="connsiteY14" fmla="*/ 344737 h 1343025"/>
                  <a:gd name="connsiteX15" fmla="*/ 59519 w 702456"/>
                  <a:gd name="connsiteY15" fmla="*/ 219075 h 1343025"/>
                  <a:gd name="connsiteX16" fmla="*/ 173819 w 702456"/>
                  <a:gd name="connsiteY16" fmla="*/ 142875 h 1343025"/>
                  <a:gd name="connsiteX17" fmla="*/ 373844 w 702456"/>
                  <a:gd name="connsiteY17" fmla="*/ 142875 h 1343025"/>
                  <a:gd name="connsiteX18" fmla="*/ 478619 w 702456"/>
                  <a:gd name="connsiteY18" fmla="*/ 0 h 1343025"/>
                  <a:gd name="connsiteX0" fmla="*/ 478619 w 702456"/>
                  <a:gd name="connsiteY0" fmla="*/ 0 h 1308389"/>
                  <a:gd name="connsiteX1" fmla="*/ 631019 w 702456"/>
                  <a:gd name="connsiteY1" fmla="*/ 36801 h 1308389"/>
                  <a:gd name="connsiteX2" fmla="*/ 531006 w 702456"/>
                  <a:gd name="connsiteY2" fmla="*/ 541626 h 1308389"/>
                  <a:gd name="connsiteX3" fmla="*/ 528120 w 702456"/>
                  <a:gd name="connsiteY3" fmla="*/ 604694 h 1308389"/>
                  <a:gd name="connsiteX4" fmla="*/ 559581 w 702456"/>
                  <a:gd name="connsiteY4" fmla="*/ 803564 h 1308389"/>
                  <a:gd name="connsiteX5" fmla="*/ 702456 w 702456"/>
                  <a:gd name="connsiteY5" fmla="*/ 1103601 h 1308389"/>
                  <a:gd name="connsiteX6" fmla="*/ 578631 w 702456"/>
                  <a:gd name="connsiteY6" fmla="*/ 1208376 h 1308389"/>
                  <a:gd name="connsiteX7" fmla="*/ 483381 w 702456"/>
                  <a:gd name="connsiteY7" fmla="*/ 1108364 h 1308389"/>
                  <a:gd name="connsiteX8" fmla="*/ 507194 w 702456"/>
                  <a:gd name="connsiteY8" fmla="*/ 1232189 h 1308389"/>
                  <a:gd name="connsiteX9" fmla="*/ 173819 w 702456"/>
                  <a:gd name="connsiteY9" fmla="*/ 1308389 h 1308389"/>
                  <a:gd name="connsiteX10" fmla="*/ 0 w 702456"/>
                  <a:gd name="connsiteY10" fmla="*/ 1246587 h 1308389"/>
                  <a:gd name="connsiteX11" fmla="*/ 91304 w 702456"/>
                  <a:gd name="connsiteY11" fmla="*/ 937607 h 1308389"/>
                  <a:gd name="connsiteX12" fmla="*/ 85943 w 702456"/>
                  <a:gd name="connsiteY12" fmla="*/ 936023 h 1308389"/>
                  <a:gd name="connsiteX13" fmla="*/ 210051 w 702456"/>
                  <a:gd name="connsiteY13" fmla="*/ 314136 h 1308389"/>
                  <a:gd name="connsiteX14" fmla="*/ 189836 w 702456"/>
                  <a:gd name="connsiteY14" fmla="*/ 310101 h 1308389"/>
                  <a:gd name="connsiteX15" fmla="*/ 59519 w 702456"/>
                  <a:gd name="connsiteY15" fmla="*/ 184439 h 1308389"/>
                  <a:gd name="connsiteX16" fmla="*/ 173819 w 702456"/>
                  <a:gd name="connsiteY16" fmla="*/ 108239 h 1308389"/>
                  <a:gd name="connsiteX17" fmla="*/ 373844 w 702456"/>
                  <a:gd name="connsiteY17" fmla="*/ 108239 h 1308389"/>
                  <a:gd name="connsiteX18" fmla="*/ 478619 w 702456"/>
                  <a:gd name="connsiteY18" fmla="*/ 0 h 1308389"/>
                  <a:gd name="connsiteX0" fmla="*/ 478619 w 702456"/>
                  <a:gd name="connsiteY0" fmla="*/ 5961 h 1314350"/>
                  <a:gd name="connsiteX1" fmla="*/ 631019 w 702456"/>
                  <a:gd name="connsiteY1" fmla="*/ 42762 h 1314350"/>
                  <a:gd name="connsiteX2" fmla="*/ 531006 w 702456"/>
                  <a:gd name="connsiteY2" fmla="*/ 547587 h 1314350"/>
                  <a:gd name="connsiteX3" fmla="*/ 528120 w 702456"/>
                  <a:gd name="connsiteY3" fmla="*/ 610655 h 1314350"/>
                  <a:gd name="connsiteX4" fmla="*/ 559581 w 702456"/>
                  <a:gd name="connsiteY4" fmla="*/ 809525 h 1314350"/>
                  <a:gd name="connsiteX5" fmla="*/ 702456 w 702456"/>
                  <a:gd name="connsiteY5" fmla="*/ 1109562 h 1314350"/>
                  <a:gd name="connsiteX6" fmla="*/ 578631 w 702456"/>
                  <a:gd name="connsiteY6" fmla="*/ 1214337 h 1314350"/>
                  <a:gd name="connsiteX7" fmla="*/ 483381 w 702456"/>
                  <a:gd name="connsiteY7" fmla="*/ 1114325 h 1314350"/>
                  <a:gd name="connsiteX8" fmla="*/ 507194 w 702456"/>
                  <a:gd name="connsiteY8" fmla="*/ 1238150 h 1314350"/>
                  <a:gd name="connsiteX9" fmla="*/ 173819 w 702456"/>
                  <a:gd name="connsiteY9" fmla="*/ 1314350 h 1314350"/>
                  <a:gd name="connsiteX10" fmla="*/ 0 w 702456"/>
                  <a:gd name="connsiteY10" fmla="*/ 1252548 h 1314350"/>
                  <a:gd name="connsiteX11" fmla="*/ 91304 w 702456"/>
                  <a:gd name="connsiteY11" fmla="*/ 943568 h 1314350"/>
                  <a:gd name="connsiteX12" fmla="*/ 85943 w 702456"/>
                  <a:gd name="connsiteY12" fmla="*/ 941984 h 1314350"/>
                  <a:gd name="connsiteX13" fmla="*/ 210051 w 702456"/>
                  <a:gd name="connsiteY13" fmla="*/ 320097 h 1314350"/>
                  <a:gd name="connsiteX14" fmla="*/ 189836 w 702456"/>
                  <a:gd name="connsiteY14" fmla="*/ 316062 h 1314350"/>
                  <a:gd name="connsiteX15" fmla="*/ 59519 w 702456"/>
                  <a:gd name="connsiteY15" fmla="*/ 190400 h 1314350"/>
                  <a:gd name="connsiteX16" fmla="*/ 173819 w 702456"/>
                  <a:gd name="connsiteY16" fmla="*/ 114200 h 1314350"/>
                  <a:gd name="connsiteX17" fmla="*/ 373844 w 702456"/>
                  <a:gd name="connsiteY17" fmla="*/ 114200 h 1314350"/>
                  <a:gd name="connsiteX18" fmla="*/ 478619 w 702456"/>
                  <a:gd name="connsiteY18" fmla="*/ 5961 h 1314350"/>
                  <a:gd name="connsiteX0" fmla="*/ 478619 w 702456"/>
                  <a:gd name="connsiteY0" fmla="*/ 5961 h 1314350"/>
                  <a:gd name="connsiteX1" fmla="*/ 631019 w 702456"/>
                  <a:gd name="connsiteY1" fmla="*/ 42762 h 1314350"/>
                  <a:gd name="connsiteX2" fmla="*/ 531006 w 702456"/>
                  <a:gd name="connsiteY2" fmla="*/ 547587 h 1314350"/>
                  <a:gd name="connsiteX3" fmla="*/ 528120 w 702456"/>
                  <a:gd name="connsiteY3" fmla="*/ 610655 h 1314350"/>
                  <a:gd name="connsiteX4" fmla="*/ 559581 w 702456"/>
                  <a:gd name="connsiteY4" fmla="*/ 809525 h 1314350"/>
                  <a:gd name="connsiteX5" fmla="*/ 702456 w 702456"/>
                  <a:gd name="connsiteY5" fmla="*/ 1109562 h 1314350"/>
                  <a:gd name="connsiteX6" fmla="*/ 578631 w 702456"/>
                  <a:gd name="connsiteY6" fmla="*/ 1214337 h 1314350"/>
                  <a:gd name="connsiteX7" fmla="*/ 483381 w 702456"/>
                  <a:gd name="connsiteY7" fmla="*/ 1114325 h 1314350"/>
                  <a:gd name="connsiteX8" fmla="*/ 507194 w 702456"/>
                  <a:gd name="connsiteY8" fmla="*/ 1238150 h 1314350"/>
                  <a:gd name="connsiteX9" fmla="*/ 173819 w 702456"/>
                  <a:gd name="connsiteY9" fmla="*/ 1314350 h 1314350"/>
                  <a:gd name="connsiteX10" fmla="*/ 0 w 702456"/>
                  <a:gd name="connsiteY10" fmla="*/ 1252548 h 1314350"/>
                  <a:gd name="connsiteX11" fmla="*/ 91304 w 702456"/>
                  <a:gd name="connsiteY11" fmla="*/ 943568 h 1314350"/>
                  <a:gd name="connsiteX12" fmla="*/ 85943 w 702456"/>
                  <a:gd name="connsiteY12" fmla="*/ 941984 h 1314350"/>
                  <a:gd name="connsiteX13" fmla="*/ 210051 w 702456"/>
                  <a:gd name="connsiteY13" fmla="*/ 320097 h 1314350"/>
                  <a:gd name="connsiteX14" fmla="*/ 189836 w 702456"/>
                  <a:gd name="connsiteY14" fmla="*/ 316062 h 1314350"/>
                  <a:gd name="connsiteX15" fmla="*/ 59519 w 702456"/>
                  <a:gd name="connsiteY15" fmla="*/ 190400 h 1314350"/>
                  <a:gd name="connsiteX16" fmla="*/ 173819 w 702456"/>
                  <a:gd name="connsiteY16" fmla="*/ 114200 h 1314350"/>
                  <a:gd name="connsiteX17" fmla="*/ 347867 w 702456"/>
                  <a:gd name="connsiteY17" fmla="*/ 92552 h 1314350"/>
                  <a:gd name="connsiteX18" fmla="*/ 478619 w 702456"/>
                  <a:gd name="connsiteY18" fmla="*/ 5961 h 13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2456" h="1314350">
                    <a:moveTo>
                      <a:pt x="478619" y="5961"/>
                    </a:moveTo>
                    <a:cubicBezTo>
                      <a:pt x="529419" y="-16408"/>
                      <a:pt x="580219" y="30495"/>
                      <a:pt x="631019" y="42762"/>
                    </a:cubicBezTo>
                    <a:lnTo>
                      <a:pt x="531006" y="547587"/>
                    </a:lnTo>
                    <a:lnTo>
                      <a:pt x="528120" y="610655"/>
                    </a:lnTo>
                    <a:lnTo>
                      <a:pt x="559581" y="809525"/>
                    </a:lnTo>
                    <a:lnTo>
                      <a:pt x="702456" y="1109562"/>
                    </a:lnTo>
                    <a:lnTo>
                      <a:pt x="578631" y="1214337"/>
                    </a:lnTo>
                    <a:lnTo>
                      <a:pt x="483381" y="1114325"/>
                    </a:lnTo>
                    <a:lnTo>
                      <a:pt x="507194" y="1238150"/>
                    </a:lnTo>
                    <a:lnTo>
                      <a:pt x="173819" y="1314350"/>
                    </a:lnTo>
                    <a:lnTo>
                      <a:pt x="0" y="1252548"/>
                    </a:lnTo>
                    <a:lnTo>
                      <a:pt x="91304" y="943568"/>
                    </a:lnTo>
                    <a:lnTo>
                      <a:pt x="85943" y="941984"/>
                    </a:lnTo>
                    <a:lnTo>
                      <a:pt x="210051" y="320097"/>
                    </a:lnTo>
                    <a:lnTo>
                      <a:pt x="189836" y="316062"/>
                    </a:lnTo>
                    <a:lnTo>
                      <a:pt x="59519" y="190400"/>
                    </a:lnTo>
                    <a:lnTo>
                      <a:pt x="173819" y="114200"/>
                    </a:lnTo>
                    <a:lnTo>
                      <a:pt x="347867" y="92552"/>
                    </a:lnTo>
                    <a:lnTo>
                      <a:pt x="478619" y="5961"/>
                    </a:lnTo>
                    <a:close/>
                  </a:path>
                </a:pathLst>
              </a:custGeom>
              <a:solidFill>
                <a:srgbClr val="090A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61" name="Овал 160"/>
              <p:cNvSpPr/>
              <p:nvPr/>
            </p:nvSpPr>
            <p:spPr>
              <a:xfrm rot="1669407">
                <a:off x="6660878" y="3480870"/>
                <a:ext cx="133829" cy="350288"/>
              </a:xfrm>
              <a:prstGeom prst="ellipse">
                <a:avLst/>
              </a:prstGeom>
              <a:solidFill>
                <a:srgbClr val="313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62" name="Полилиния 161"/>
              <p:cNvSpPr/>
              <p:nvPr/>
            </p:nvSpPr>
            <p:spPr>
              <a:xfrm rot="191605">
                <a:off x="6829619" y="3443097"/>
                <a:ext cx="122652" cy="60416"/>
              </a:xfrm>
              <a:custGeom>
                <a:avLst/>
                <a:gdLst>
                  <a:gd name="connsiteX0" fmla="*/ 14287 w 290512"/>
                  <a:gd name="connsiteY0" fmla="*/ 104775 h 166687"/>
                  <a:gd name="connsiteX1" fmla="*/ 180975 w 290512"/>
                  <a:gd name="connsiteY1" fmla="*/ 104775 h 166687"/>
                  <a:gd name="connsiteX2" fmla="*/ 261937 w 290512"/>
                  <a:gd name="connsiteY2" fmla="*/ 0 h 166687"/>
                  <a:gd name="connsiteX3" fmla="*/ 290512 w 290512"/>
                  <a:gd name="connsiteY3" fmla="*/ 9525 h 166687"/>
                  <a:gd name="connsiteX4" fmla="*/ 233362 w 290512"/>
                  <a:gd name="connsiteY4" fmla="*/ 123825 h 166687"/>
                  <a:gd name="connsiteX5" fmla="*/ 0 w 290512"/>
                  <a:gd name="connsiteY5" fmla="*/ 166687 h 166687"/>
                  <a:gd name="connsiteX6" fmla="*/ 14287 w 290512"/>
                  <a:gd name="connsiteY6" fmla="*/ 104775 h 166687"/>
                  <a:gd name="connsiteX0" fmla="*/ 8854 w 285079"/>
                  <a:gd name="connsiteY0" fmla="*/ 104775 h 124332"/>
                  <a:gd name="connsiteX1" fmla="*/ 175542 w 285079"/>
                  <a:gd name="connsiteY1" fmla="*/ 104775 h 124332"/>
                  <a:gd name="connsiteX2" fmla="*/ 256504 w 285079"/>
                  <a:gd name="connsiteY2" fmla="*/ 0 h 124332"/>
                  <a:gd name="connsiteX3" fmla="*/ 285079 w 285079"/>
                  <a:gd name="connsiteY3" fmla="*/ 9525 h 124332"/>
                  <a:gd name="connsiteX4" fmla="*/ 227929 w 285079"/>
                  <a:gd name="connsiteY4" fmla="*/ 123825 h 124332"/>
                  <a:gd name="connsiteX5" fmla="*/ 0 w 285079"/>
                  <a:gd name="connsiteY5" fmla="*/ 124332 h 124332"/>
                  <a:gd name="connsiteX6" fmla="*/ 8854 w 285079"/>
                  <a:gd name="connsiteY6" fmla="*/ 104775 h 124332"/>
                  <a:gd name="connsiteX0" fmla="*/ 8854 w 262443"/>
                  <a:gd name="connsiteY0" fmla="*/ 104775 h 124332"/>
                  <a:gd name="connsiteX1" fmla="*/ 175542 w 262443"/>
                  <a:gd name="connsiteY1" fmla="*/ 104775 h 124332"/>
                  <a:gd name="connsiteX2" fmla="*/ 256504 w 262443"/>
                  <a:gd name="connsiteY2" fmla="*/ 0 h 124332"/>
                  <a:gd name="connsiteX3" fmla="*/ 262443 w 262443"/>
                  <a:gd name="connsiteY3" fmla="*/ 8604 h 124332"/>
                  <a:gd name="connsiteX4" fmla="*/ 227929 w 262443"/>
                  <a:gd name="connsiteY4" fmla="*/ 123825 h 124332"/>
                  <a:gd name="connsiteX5" fmla="*/ 0 w 262443"/>
                  <a:gd name="connsiteY5" fmla="*/ 124332 h 124332"/>
                  <a:gd name="connsiteX6" fmla="*/ 8854 w 262443"/>
                  <a:gd name="connsiteY6" fmla="*/ 104775 h 124332"/>
                  <a:gd name="connsiteX0" fmla="*/ 8854 w 262443"/>
                  <a:gd name="connsiteY0" fmla="*/ 104775 h 130543"/>
                  <a:gd name="connsiteX1" fmla="*/ 175542 w 262443"/>
                  <a:gd name="connsiteY1" fmla="*/ 104775 h 130543"/>
                  <a:gd name="connsiteX2" fmla="*/ 256504 w 262443"/>
                  <a:gd name="connsiteY2" fmla="*/ 0 h 130543"/>
                  <a:gd name="connsiteX3" fmla="*/ 262443 w 262443"/>
                  <a:gd name="connsiteY3" fmla="*/ 8604 h 130543"/>
                  <a:gd name="connsiteX4" fmla="*/ 227929 w 262443"/>
                  <a:gd name="connsiteY4" fmla="*/ 123825 h 130543"/>
                  <a:gd name="connsiteX5" fmla="*/ 0 w 262443"/>
                  <a:gd name="connsiteY5" fmla="*/ 124332 h 130543"/>
                  <a:gd name="connsiteX6" fmla="*/ 8854 w 262443"/>
                  <a:gd name="connsiteY6" fmla="*/ 104775 h 130543"/>
                  <a:gd name="connsiteX0" fmla="*/ 8854 w 262443"/>
                  <a:gd name="connsiteY0" fmla="*/ 104775 h 130543"/>
                  <a:gd name="connsiteX1" fmla="*/ 175542 w 262443"/>
                  <a:gd name="connsiteY1" fmla="*/ 104775 h 130543"/>
                  <a:gd name="connsiteX2" fmla="*/ 256504 w 262443"/>
                  <a:gd name="connsiteY2" fmla="*/ 0 h 130543"/>
                  <a:gd name="connsiteX3" fmla="*/ 262443 w 262443"/>
                  <a:gd name="connsiteY3" fmla="*/ 8604 h 130543"/>
                  <a:gd name="connsiteX4" fmla="*/ 227929 w 262443"/>
                  <a:gd name="connsiteY4" fmla="*/ 123825 h 130543"/>
                  <a:gd name="connsiteX5" fmla="*/ 0 w 262443"/>
                  <a:gd name="connsiteY5" fmla="*/ 124332 h 130543"/>
                  <a:gd name="connsiteX6" fmla="*/ 8854 w 262443"/>
                  <a:gd name="connsiteY6" fmla="*/ 104775 h 130543"/>
                  <a:gd name="connsiteX0" fmla="*/ 8854 w 262443"/>
                  <a:gd name="connsiteY0" fmla="*/ 104775 h 130543"/>
                  <a:gd name="connsiteX1" fmla="*/ 175542 w 262443"/>
                  <a:gd name="connsiteY1" fmla="*/ 104775 h 130543"/>
                  <a:gd name="connsiteX2" fmla="*/ 256504 w 262443"/>
                  <a:gd name="connsiteY2" fmla="*/ 0 h 130543"/>
                  <a:gd name="connsiteX3" fmla="*/ 262443 w 262443"/>
                  <a:gd name="connsiteY3" fmla="*/ 8604 h 130543"/>
                  <a:gd name="connsiteX4" fmla="*/ 227929 w 262443"/>
                  <a:gd name="connsiteY4" fmla="*/ 123825 h 130543"/>
                  <a:gd name="connsiteX5" fmla="*/ 0 w 262443"/>
                  <a:gd name="connsiteY5" fmla="*/ 124332 h 130543"/>
                  <a:gd name="connsiteX6" fmla="*/ 8854 w 262443"/>
                  <a:gd name="connsiteY6" fmla="*/ 104775 h 130543"/>
                  <a:gd name="connsiteX0" fmla="*/ 8854 w 262443"/>
                  <a:gd name="connsiteY0" fmla="*/ 104775 h 130543"/>
                  <a:gd name="connsiteX1" fmla="*/ 157636 w 262443"/>
                  <a:gd name="connsiteY1" fmla="*/ 76723 h 130543"/>
                  <a:gd name="connsiteX2" fmla="*/ 256504 w 262443"/>
                  <a:gd name="connsiteY2" fmla="*/ 0 h 130543"/>
                  <a:gd name="connsiteX3" fmla="*/ 262443 w 262443"/>
                  <a:gd name="connsiteY3" fmla="*/ 8604 h 130543"/>
                  <a:gd name="connsiteX4" fmla="*/ 227929 w 262443"/>
                  <a:gd name="connsiteY4" fmla="*/ 123825 h 130543"/>
                  <a:gd name="connsiteX5" fmla="*/ 0 w 262443"/>
                  <a:gd name="connsiteY5" fmla="*/ 124332 h 130543"/>
                  <a:gd name="connsiteX6" fmla="*/ 8854 w 262443"/>
                  <a:gd name="connsiteY6" fmla="*/ 104775 h 130543"/>
                  <a:gd name="connsiteX0" fmla="*/ 8854 w 288467"/>
                  <a:gd name="connsiteY0" fmla="*/ 104775 h 130543"/>
                  <a:gd name="connsiteX1" fmla="*/ 157636 w 288467"/>
                  <a:gd name="connsiteY1" fmla="*/ 76723 h 130543"/>
                  <a:gd name="connsiteX2" fmla="*/ 256504 w 288467"/>
                  <a:gd name="connsiteY2" fmla="*/ 0 h 130543"/>
                  <a:gd name="connsiteX3" fmla="*/ 288467 w 288467"/>
                  <a:gd name="connsiteY3" fmla="*/ 20866 h 130543"/>
                  <a:gd name="connsiteX4" fmla="*/ 227929 w 288467"/>
                  <a:gd name="connsiteY4" fmla="*/ 123825 h 130543"/>
                  <a:gd name="connsiteX5" fmla="*/ 0 w 288467"/>
                  <a:gd name="connsiteY5" fmla="*/ 124332 h 130543"/>
                  <a:gd name="connsiteX6" fmla="*/ 8854 w 288467"/>
                  <a:gd name="connsiteY6" fmla="*/ 104775 h 130543"/>
                  <a:gd name="connsiteX0" fmla="*/ 8854 w 288467"/>
                  <a:gd name="connsiteY0" fmla="*/ 83909 h 109677"/>
                  <a:gd name="connsiteX1" fmla="*/ 157636 w 288467"/>
                  <a:gd name="connsiteY1" fmla="*/ 55857 h 109677"/>
                  <a:gd name="connsiteX2" fmla="*/ 221222 w 288467"/>
                  <a:gd name="connsiteY2" fmla="*/ 49 h 109677"/>
                  <a:gd name="connsiteX3" fmla="*/ 288467 w 288467"/>
                  <a:gd name="connsiteY3" fmla="*/ 0 h 109677"/>
                  <a:gd name="connsiteX4" fmla="*/ 227929 w 288467"/>
                  <a:gd name="connsiteY4" fmla="*/ 102959 h 109677"/>
                  <a:gd name="connsiteX5" fmla="*/ 0 w 288467"/>
                  <a:gd name="connsiteY5" fmla="*/ 103466 h 109677"/>
                  <a:gd name="connsiteX6" fmla="*/ 8854 w 288467"/>
                  <a:gd name="connsiteY6" fmla="*/ 83909 h 109677"/>
                  <a:gd name="connsiteX0" fmla="*/ 8854 w 241126"/>
                  <a:gd name="connsiteY0" fmla="*/ 83860 h 109628"/>
                  <a:gd name="connsiteX1" fmla="*/ 157636 w 241126"/>
                  <a:gd name="connsiteY1" fmla="*/ 55808 h 109628"/>
                  <a:gd name="connsiteX2" fmla="*/ 221222 w 241126"/>
                  <a:gd name="connsiteY2" fmla="*/ 0 h 109628"/>
                  <a:gd name="connsiteX3" fmla="*/ 241126 w 241126"/>
                  <a:gd name="connsiteY3" fmla="*/ 11799 h 109628"/>
                  <a:gd name="connsiteX4" fmla="*/ 227929 w 241126"/>
                  <a:gd name="connsiteY4" fmla="*/ 102910 h 109628"/>
                  <a:gd name="connsiteX5" fmla="*/ 0 w 241126"/>
                  <a:gd name="connsiteY5" fmla="*/ 103417 h 109628"/>
                  <a:gd name="connsiteX6" fmla="*/ 8854 w 241126"/>
                  <a:gd name="connsiteY6" fmla="*/ 83860 h 109628"/>
                  <a:gd name="connsiteX0" fmla="*/ 8854 w 241126"/>
                  <a:gd name="connsiteY0" fmla="*/ 83860 h 103417"/>
                  <a:gd name="connsiteX1" fmla="*/ 157636 w 241126"/>
                  <a:gd name="connsiteY1" fmla="*/ 55808 h 103417"/>
                  <a:gd name="connsiteX2" fmla="*/ 221222 w 241126"/>
                  <a:gd name="connsiteY2" fmla="*/ 0 h 103417"/>
                  <a:gd name="connsiteX3" fmla="*/ 241126 w 241126"/>
                  <a:gd name="connsiteY3" fmla="*/ 11799 h 103417"/>
                  <a:gd name="connsiteX4" fmla="*/ 178548 w 241126"/>
                  <a:gd name="connsiteY4" fmla="*/ 84039 h 103417"/>
                  <a:gd name="connsiteX5" fmla="*/ 0 w 241126"/>
                  <a:gd name="connsiteY5" fmla="*/ 103417 h 103417"/>
                  <a:gd name="connsiteX6" fmla="*/ 8854 w 241126"/>
                  <a:gd name="connsiteY6" fmla="*/ 83860 h 103417"/>
                  <a:gd name="connsiteX0" fmla="*/ 8854 w 241126"/>
                  <a:gd name="connsiteY0" fmla="*/ 83860 h 103417"/>
                  <a:gd name="connsiteX1" fmla="*/ 150656 w 241126"/>
                  <a:gd name="connsiteY1" fmla="*/ 54210 h 103417"/>
                  <a:gd name="connsiteX2" fmla="*/ 221222 w 241126"/>
                  <a:gd name="connsiteY2" fmla="*/ 0 h 103417"/>
                  <a:gd name="connsiteX3" fmla="*/ 241126 w 241126"/>
                  <a:gd name="connsiteY3" fmla="*/ 11799 h 103417"/>
                  <a:gd name="connsiteX4" fmla="*/ 178548 w 241126"/>
                  <a:gd name="connsiteY4" fmla="*/ 84039 h 103417"/>
                  <a:gd name="connsiteX5" fmla="*/ 0 w 241126"/>
                  <a:gd name="connsiteY5" fmla="*/ 103417 h 103417"/>
                  <a:gd name="connsiteX6" fmla="*/ 8854 w 241126"/>
                  <a:gd name="connsiteY6" fmla="*/ 83860 h 103417"/>
                  <a:gd name="connsiteX0" fmla="*/ 8854 w 241126"/>
                  <a:gd name="connsiteY0" fmla="*/ 72061 h 91618"/>
                  <a:gd name="connsiteX1" fmla="*/ 150656 w 241126"/>
                  <a:gd name="connsiteY1" fmla="*/ 42411 h 91618"/>
                  <a:gd name="connsiteX2" fmla="*/ 210562 w 241126"/>
                  <a:gd name="connsiteY2" fmla="*/ 256 h 91618"/>
                  <a:gd name="connsiteX3" fmla="*/ 241126 w 241126"/>
                  <a:gd name="connsiteY3" fmla="*/ 0 h 91618"/>
                  <a:gd name="connsiteX4" fmla="*/ 178548 w 241126"/>
                  <a:gd name="connsiteY4" fmla="*/ 72240 h 91618"/>
                  <a:gd name="connsiteX5" fmla="*/ 0 w 241126"/>
                  <a:gd name="connsiteY5" fmla="*/ 91618 h 91618"/>
                  <a:gd name="connsiteX6" fmla="*/ 8854 w 241126"/>
                  <a:gd name="connsiteY6" fmla="*/ 72061 h 91618"/>
                  <a:gd name="connsiteX0" fmla="*/ 8854 w 220691"/>
                  <a:gd name="connsiteY0" fmla="*/ 71805 h 91362"/>
                  <a:gd name="connsiteX1" fmla="*/ 150656 w 220691"/>
                  <a:gd name="connsiteY1" fmla="*/ 42155 h 91362"/>
                  <a:gd name="connsiteX2" fmla="*/ 210562 w 220691"/>
                  <a:gd name="connsiteY2" fmla="*/ 0 h 91362"/>
                  <a:gd name="connsiteX3" fmla="*/ 220691 w 220691"/>
                  <a:gd name="connsiteY3" fmla="*/ 2629 h 91362"/>
                  <a:gd name="connsiteX4" fmla="*/ 178548 w 220691"/>
                  <a:gd name="connsiteY4" fmla="*/ 71984 h 91362"/>
                  <a:gd name="connsiteX5" fmla="*/ 0 w 220691"/>
                  <a:gd name="connsiteY5" fmla="*/ 91362 h 91362"/>
                  <a:gd name="connsiteX6" fmla="*/ 8854 w 220691"/>
                  <a:gd name="connsiteY6" fmla="*/ 71805 h 9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691" h="91362">
                    <a:moveTo>
                      <a:pt x="8854" y="71805"/>
                    </a:moveTo>
                    <a:lnTo>
                      <a:pt x="150656" y="42155"/>
                    </a:lnTo>
                    <a:cubicBezTo>
                      <a:pt x="193036" y="24724"/>
                      <a:pt x="183575" y="34925"/>
                      <a:pt x="210562" y="0"/>
                    </a:cubicBezTo>
                    <a:lnTo>
                      <a:pt x="220691" y="2629"/>
                    </a:lnTo>
                    <a:cubicBezTo>
                      <a:pt x="209186" y="41036"/>
                      <a:pt x="203635" y="38181"/>
                      <a:pt x="178548" y="71984"/>
                    </a:cubicBezTo>
                    <a:cubicBezTo>
                      <a:pt x="101667" y="86885"/>
                      <a:pt x="75976" y="91193"/>
                      <a:pt x="0" y="91362"/>
                    </a:cubicBezTo>
                    <a:lnTo>
                      <a:pt x="8854" y="7180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nvGrpSpPr>
            <p:cNvPr id="55" name="Группа 54"/>
            <p:cNvGrpSpPr/>
            <p:nvPr/>
          </p:nvGrpSpPr>
          <p:grpSpPr>
            <a:xfrm flipV="1">
              <a:off x="4915817" y="3971728"/>
              <a:ext cx="567817" cy="465700"/>
              <a:chOff x="1606606" y="1034738"/>
              <a:chExt cx="1415142" cy="1276688"/>
            </a:xfrm>
            <a:scene3d>
              <a:camera prst="isometricOffAxis2Top"/>
              <a:lightRig rig="threePt" dir="t"/>
            </a:scene3d>
          </p:grpSpPr>
          <p:sp>
            <p:nvSpPr>
              <p:cNvPr id="120" name="Прямоугольник 119"/>
              <p:cNvSpPr/>
              <p:nvPr/>
            </p:nvSpPr>
            <p:spPr>
              <a:xfrm rot="19239624">
                <a:off x="1823080" y="1191955"/>
                <a:ext cx="732079" cy="1119471"/>
              </a:xfrm>
              <a:prstGeom prst="rect">
                <a:avLst/>
              </a:prstGeom>
              <a:gradFill>
                <a:gsLst>
                  <a:gs pos="49000">
                    <a:srgbClr val="E5E5E5"/>
                  </a:gs>
                  <a:gs pos="52000">
                    <a:srgbClr val="C8C8C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21" name="Овал 120"/>
              <p:cNvSpPr/>
              <p:nvPr/>
            </p:nvSpPr>
            <p:spPr>
              <a:xfrm rot="19239624">
                <a:off x="1606606" y="1532270"/>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22" name="Овал 121"/>
              <p:cNvSpPr/>
              <p:nvPr/>
            </p:nvSpPr>
            <p:spPr>
              <a:xfrm rot="19239624">
                <a:off x="1684971" y="1468037"/>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23" name="Овал 122"/>
              <p:cNvSpPr/>
              <p:nvPr/>
            </p:nvSpPr>
            <p:spPr>
              <a:xfrm rot="19239624">
                <a:off x="1824620" y="1353580"/>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24" name="Овал 123"/>
              <p:cNvSpPr/>
              <p:nvPr/>
            </p:nvSpPr>
            <p:spPr>
              <a:xfrm rot="19239624">
                <a:off x="1991539" y="1216761"/>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25" name="Овал 124"/>
              <p:cNvSpPr/>
              <p:nvPr/>
            </p:nvSpPr>
            <p:spPr>
              <a:xfrm rot="19239624">
                <a:off x="1756316" y="1409558"/>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26" name="Овал 125"/>
              <p:cNvSpPr/>
              <p:nvPr/>
            </p:nvSpPr>
            <p:spPr>
              <a:xfrm rot="19239624">
                <a:off x="2073756" y="1149367"/>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27" name="Овал 126"/>
              <p:cNvSpPr/>
              <p:nvPr/>
            </p:nvSpPr>
            <p:spPr>
              <a:xfrm rot="19239624">
                <a:off x="1899155" y="129248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28" name="Прямоугольник 127"/>
              <p:cNvSpPr/>
              <p:nvPr/>
            </p:nvSpPr>
            <p:spPr>
              <a:xfrm rot="19239624">
                <a:off x="1674093" y="1466142"/>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29" name="Прямоугольник 128"/>
              <p:cNvSpPr/>
              <p:nvPr/>
            </p:nvSpPr>
            <p:spPr>
              <a:xfrm rot="19239624">
                <a:off x="1718829" y="1522114"/>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0" name="Прямоугольник 129"/>
              <p:cNvSpPr/>
              <p:nvPr/>
            </p:nvSpPr>
            <p:spPr>
              <a:xfrm rot="19239624">
                <a:off x="1761380" y="1574027"/>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1" name="Прямоугольник 130"/>
              <p:cNvSpPr/>
              <p:nvPr/>
            </p:nvSpPr>
            <p:spPr>
              <a:xfrm rot="19239624">
                <a:off x="1805632" y="1628018"/>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2" name="Прямоугольник 131"/>
              <p:cNvSpPr/>
              <p:nvPr/>
            </p:nvSpPr>
            <p:spPr>
              <a:xfrm rot="21252832">
                <a:off x="2058009" y="1034738"/>
                <a:ext cx="732079" cy="1119471"/>
              </a:xfrm>
              <a:prstGeom prst="rect">
                <a:avLst/>
              </a:prstGeom>
              <a:gradFill>
                <a:gsLst>
                  <a:gs pos="49000">
                    <a:srgbClr val="E5E5E5"/>
                  </a:gs>
                  <a:gs pos="52000">
                    <a:srgbClr val="C8C8C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3" name="Овал 132"/>
              <p:cNvSpPr/>
              <p:nvPr/>
            </p:nvSpPr>
            <p:spPr>
              <a:xfrm rot="21252832">
                <a:off x="2035836" y="1103588"/>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4" name="Овал 133"/>
              <p:cNvSpPr/>
              <p:nvPr/>
            </p:nvSpPr>
            <p:spPr>
              <a:xfrm rot="21252832">
                <a:off x="2136653" y="1093376"/>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5" name="Овал 134"/>
              <p:cNvSpPr/>
              <p:nvPr/>
            </p:nvSpPr>
            <p:spPr>
              <a:xfrm rot="21252832">
                <a:off x="2316290" y="107517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6" name="Овал 135"/>
              <p:cNvSpPr/>
              <p:nvPr/>
            </p:nvSpPr>
            <p:spPr>
              <a:xfrm rot="21252832">
                <a:off x="2531018" y="1053412"/>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7" name="Овал 136"/>
              <p:cNvSpPr/>
              <p:nvPr/>
            </p:nvSpPr>
            <p:spPr>
              <a:xfrm rot="21252832">
                <a:off x="2228431" y="1084076"/>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8" name="Овал 137"/>
              <p:cNvSpPr/>
              <p:nvPr/>
            </p:nvSpPr>
            <p:spPr>
              <a:xfrm rot="21252832">
                <a:off x="2636782" y="104269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39" name="Овал 138"/>
              <p:cNvSpPr/>
              <p:nvPr/>
            </p:nvSpPr>
            <p:spPr>
              <a:xfrm rot="21252832">
                <a:off x="2412176" y="1065457"/>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40" name="Прямоугольник 139"/>
              <p:cNvSpPr/>
              <p:nvPr/>
            </p:nvSpPr>
            <p:spPr>
              <a:xfrm rot="21252832">
                <a:off x="2099699" y="1226214"/>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41" name="Прямоугольник 140"/>
              <p:cNvSpPr/>
              <p:nvPr/>
            </p:nvSpPr>
            <p:spPr>
              <a:xfrm rot="21252832">
                <a:off x="2106047" y="1297583"/>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42" name="Прямоугольник 141"/>
              <p:cNvSpPr/>
              <p:nvPr/>
            </p:nvSpPr>
            <p:spPr>
              <a:xfrm rot="21252832">
                <a:off x="2112812" y="1364366"/>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43" name="Прямоугольник 142"/>
              <p:cNvSpPr/>
              <p:nvPr/>
            </p:nvSpPr>
            <p:spPr>
              <a:xfrm rot="21252832">
                <a:off x="2119849" y="1433820"/>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44" name="Скругленный прямоугольник 143"/>
              <p:cNvSpPr/>
              <p:nvPr/>
            </p:nvSpPr>
            <p:spPr>
              <a:xfrm rot="12991070">
                <a:off x="2935556" y="1224294"/>
                <a:ext cx="80922" cy="257703"/>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45" name="Freeform 113"/>
              <p:cNvSpPr>
                <a:spLocks/>
              </p:cNvSpPr>
              <p:nvPr/>
            </p:nvSpPr>
            <p:spPr bwMode="auto">
              <a:xfrm rot="2191070">
                <a:off x="2585131" y="1740574"/>
                <a:ext cx="81895" cy="171604"/>
              </a:xfrm>
              <a:custGeom>
                <a:avLst/>
                <a:gdLst>
                  <a:gd name="T0" fmla="*/ 709 w 709"/>
                  <a:gd name="T1" fmla="*/ 161 h 1023"/>
                  <a:gd name="T2" fmla="*/ 356 w 709"/>
                  <a:gd name="T3" fmla="*/ 1023 h 1023"/>
                  <a:gd name="T4" fmla="*/ 0 w 709"/>
                  <a:gd name="T5" fmla="*/ 161 h 1023"/>
                  <a:gd name="T6" fmla="*/ 0 w 709"/>
                  <a:gd name="T7" fmla="*/ 0 h 1023"/>
                  <a:gd name="T8" fmla="*/ 709 w 709"/>
                  <a:gd name="T9" fmla="*/ 0 h 1023"/>
                  <a:gd name="T10" fmla="*/ 709 w 709"/>
                  <a:gd name="T11" fmla="*/ 161 h 1023"/>
                </a:gdLst>
                <a:ahLst/>
                <a:cxnLst>
                  <a:cxn ang="0">
                    <a:pos x="T0" y="T1"/>
                  </a:cxn>
                  <a:cxn ang="0">
                    <a:pos x="T2" y="T3"/>
                  </a:cxn>
                  <a:cxn ang="0">
                    <a:pos x="T4" y="T5"/>
                  </a:cxn>
                  <a:cxn ang="0">
                    <a:pos x="T6" y="T7"/>
                  </a:cxn>
                  <a:cxn ang="0">
                    <a:pos x="T8" y="T9"/>
                  </a:cxn>
                  <a:cxn ang="0">
                    <a:pos x="T10" y="T11"/>
                  </a:cxn>
                </a:cxnLst>
                <a:rect l="0" t="0" r="r" b="b"/>
                <a:pathLst>
                  <a:path w="709" h="1023">
                    <a:moveTo>
                      <a:pt x="709" y="161"/>
                    </a:moveTo>
                    <a:lnTo>
                      <a:pt x="356" y="1023"/>
                    </a:lnTo>
                    <a:lnTo>
                      <a:pt x="0" y="161"/>
                    </a:lnTo>
                    <a:lnTo>
                      <a:pt x="0" y="0"/>
                    </a:lnTo>
                    <a:lnTo>
                      <a:pt x="709" y="0"/>
                    </a:lnTo>
                    <a:lnTo>
                      <a:pt x="709" y="161"/>
                    </a:lnTo>
                    <a:close/>
                  </a:path>
                </a:pathLst>
              </a:custGeom>
              <a:solidFill>
                <a:srgbClr val="DDBDA3"/>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46" name="Freeform 114"/>
              <p:cNvSpPr>
                <a:spLocks/>
              </p:cNvSpPr>
              <p:nvPr/>
            </p:nvSpPr>
            <p:spPr bwMode="auto">
              <a:xfrm rot="2191070">
                <a:off x="2772929" y="1301190"/>
                <a:ext cx="27259" cy="525085"/>
              </a:xfrm>
              <a:custGeom>
                <a:avLst/>
                <a:gdLst>
                  <a:gd name="T0" fmla="*/ 0 w 99"/>
                  <a:gd name="T1" fmla="*/ 0 h 718"/>
                  <a:gd name="T2" fmla="*/ 0 w 99"/>
                  <a:gd name="T3" fmla="*/ 673 h 718"/>
                  <a:gd name="T4" fmla="*/ 15 w 99"/>
                  <a:gd name="T5" fmla="*/ 701 h 718"/>
                  <a:gd name="T6" fmla="*/ 34 w 99"/>
                  <a:gd name="T7" fmla="*/ 713 h 718"/>
                  <a:gd name="T8" fmla="*/ 65 w 99"/>
                  <a:gd name="T9" fmla="*/ 713 h 718"/>
                  <a:gd name="T10" fmla="*/ 84 w 99"/>
                  <a:gd name="T11" fmla="*/ 701 h 718"/>
                  <a:gd name="T12" fmla="*/ 99 w 99"/>
                  <a:gd name="T13" fmla="*/ 673 h 718"/>
                  <a:gd name="T14" fmla="*/ 99 w 99"/>
                  <a:gd name="T15" fmla="*/ 0 h 718"/>
                  <a:gd name="T16" fmla="*/ 0 w 99"/>
                  <a:gd name="T1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18">
                    <a:moveTo>
                      <a:pt x="0" y="0"/>
                    </a:moveTo>
                    <a:cubicBezTo>
                      <a:pt x="0" y="673"/>
                      <a:pt x="0" y="673"/>
                      <a:pt x="0" y="673"/>
                    </a:cubicBezTo>
                    <a:cubicBezTo>
                      <a:pt x="0" y="683"/>
                      <a:pt x="7" y="695"/>
                      <a:pt x="15" y="701"/>
                    </a:cubicBezTo>
                    <a:cubicBezTo>
                      <a:pt x="34" y="713"/>
                      <a:pt x="34" y="713"/>
                      <a:pt x="34" y="713"/>
                    </a:cubicBezTo>
                    <a:cubicBezTo>
                      <a:pt x="43" y="718"/>
                      <a:pt x="56" y="718"/>
                      <a:pt x="65" y="713"/>
                    </a:cubicBezTo>
                    <a:cubicBezTo>
                      <a:pt x="84" y="701"/>
                      <a:pt x="84" y="701"/>
                      <a:pt x="84" y="701"/>
                    </a:cubicBezTo>
                    <a:cubicBezTo>
                      <a:pt x="92" y="695"/>
                      <a:pt x="99" y="683"/>
                      <a:pt x="99" y="673"/>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47" name="Freeform 115"/>
              <p:cNvSpPr>
                <a:spLocks/>
              </p:cNvSpPr>
              <p:nvPr/>
            </p:nvSpPr>
            <p:spPr bwMode="auto">
              <a:xfrm rot="2191070">
                <a:off x="2794824" y="1317442"/>
                <a:ext cx="27376" cy="525085"/>
              </a:xfrm>
              <a:custGeom>
                <a:avLst/>
                <a:gdLst>
                  <a:gd name="T0" fmla="*/ 0 w 99"/>
                  <a:gd name="T1" fmla="*/ 0 h 718"/>
                  <a:gd name="T2" fmla="*/ 0 w 99"/>
                  <a:gd name="T3" fmla="*/ 673 h 718"/>
                  <a:gd name="T4" fmla="*/ 15 w 99"/>
                  <a:gd name="T5" fmla="*/ 701 h 718"/>
                  <a:gd name="T6" fmla="*/ 34 w 99"/>
                  <a:gd name="T7" fmla="*/ 713 h 718"/>
                  <a:gd name="T8" fmla="*/ 65 w 99"/>
                  <a:gd name="T9" fmla="*/ 713 h 718"/>
                  <a:gd name="T10" fmla="*/ 84 w 99"/>
                  <a:gd name="T11" fmla="*/ 701 h 718"/>
                  <a:gd name="T12" fmla="*/ 99 w 99"/>
                  <a:gd name="T13" fmla="*/ 673 h 718"/>
                  <a:gd name="T14" fmla="*/ 99 w 99"/>
                  <a:gd name="T15" fmla="*/ 0 h 718"/>
                  <a:gd name="T16" fmla="*/ 0 w 99"/>
                  <a:gd name="T1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18">
                    <a:moveTo>
                      <a:pt x="0" y="0"/>
                    </a:moveTo>
                    <a:cubicBezTo>
                      <a:pt x="0" y="673"/>
                      <a:pt x="0" y="673"/>
                      <a:pt x="0" y="673"/>
                    </a:cubicBezTo>
                    <a:cubicBezTo>
                      <a:pt x="0" y="683"/>
                      <a:pt x="7" y="695"/>
                      <a:pt x="15" y="701"/>
                    </a:cubicBezTo>
                    <a:cubicBezTo>
                      <a:pt x="34" y="713"/>
                      <a:pt x="34" y="713"/>
                      <a:pt x="34" y="713"/>
                    </a:cubicBezTo>
                    <a:cubicBezTo>
                      <a:pt x="43" y="718"/>
                      <a:pt x="57" y="718"/>
                      <a:pt x="65" y="713"/>
                    </a:cubicBezTo>
                    <a:cubicBezTo>
                      <a:pt x="84" y="701"/>
                      <a:pt x="84" y="701"/>
                      <a:pt x="84" y="701"/>
                    </a:cubicBezTo>
                    <a:cubicBezTo>
                      <a:pt x="92" y="695"/>
                      <a:pt x="99" y="683"/>
                      <a:pt x="99" y="673"/>
                    </a:cubicBezTo>
                    <a:cubicBezTo>
                      <a:pt x="99" y="0"/>
                      <a:pt x="99" y="0"/>
                      <a:pt x="99" y="0"/>
                    </a:cubicBezTo>
                    <a:lnTo>
                      <a:pt x="0" y="0"/>
                    </a:lnTo>
                    <a:close/>
                  </a:path>
                </a:pathLst>
              </a:custGeom>
              <a:solidFill>
                <a:srgbClr val="F6D258"/>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48" name="Freeform 116"/>
              <p:cNvSpPr>
                <a:spLocks/>
              </p:cNvSpPr>
              <p:nvPr/>
            </p:nvSpPr>
            <p:spPr bwMode="auto">
              <a:xfrm rot="2191070">
                <a:off x="2816836" y="1333701"/>
                <a:ext cx="27259" cy="525085"/>
              </a:xfrm>
              <a:custGeom>
                <a:avLst/>
                <a:gdLst>
                  <a:gd name="T0" fmla="*/ 0 w 99"/>
                  <a:gd name="T1" fmla="*/ 0 h 718"/>
                  <a:gd name="T2" fmla="*/ 0 w 99"/>
                  <a:gd name="T3" fmla="*/ 673 h 718"/>
                  <a:gd name="T4" fmla="*/ 15 w 99"/>
                  <a:gd name="T5" fmla="*/ 701 h 718"/>
                  <a:gd name="T6" fmla="*/ 35 w 99"/>
                  <a:gd name="T7" fmla="*/ 713 h 718"/>
                  <a:gd name="T8" fmla="*/ 65 w 99"/>
                  <a:gd name="T9" fmla="*/ 713 h 718"/>
                  <a:gd name="T10" fmla="*/ 84 w 99"/>
                  <a:gd name="T11" fmla="*/ 701 h 718"/>
                  <a:gd name="T12" fmla="*/ 99 w 99"/>
                  <a:gd name="T13" fmla="*/ 673 h 718"/>
                  <a:gd name="T14" fmla="*/ 99 w 99"/>
                  <a:gd name="T15" fmla="*/ 0 h 718"/>
                  <a:gd name="T16" fmla="*/ 0 w 99"/>
                  <a:gd name="T1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18">
                    <a:moveTo>
                      <a:pt x="0" y="0"/>
                    </a:moveTo>
                    <a:cubicBezTo>
                      <a:pt x="0" y="673"/>
                      <a:pt x="0" y="673"/>
                      <a:pt x="0" y="673"/>
                    </a:cubicBezTo>
                    <a:cubicBezTo>
                      <a:pt x="0" y="683"/>
                      <a:pt x="7" y="695"/>
                      <a:pt x="15" y="701"/>
                    </a:cubicBezTo>
                    <a:cubicBezTo>
                      <a:pt x="35" y="713"/>
                      <a:pt x="35" y="713"/>
                      <a:pt x="35" y="713"/>
                    </a:cubicBezTo>
                    <a:cubicBezTo>
                      <a:pt x="43" y="718"/>
                      <a:pt x="57" y="718"/>
                      <a:pt x="65" y="713"/>
                    </a:cubicBezTo>
                    <a:cubicBezTo>
                      <a:pt x="84" y="701"/>
                      <a:pt x="84" y="701"/>
                      <a:pt x="84" y="701"/>
                    </a:cubicBezTo>
                    <a:cubicBezTo>
                      <a:pt x="93" y="695"/>
                      <a:pt x="99" y="683"/>
                      <a:pt x="99" y="673"/>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49" name="Freeform 117"/>
              <p:cNvSpPr>
                <a:spLocks/>
              </p:cNvSpPr>
              <p:nvPr/>
            </p:nvSpPr>
            <p:spPr bwMode="auto">
              <a:xfrm rot="2191070">
                <a:off x="2637860" y="1710588"/>
                <a:ext cx="27259" cy="71124"/>
              </a:xfrm>
              <a:custGeom>
                <a:avLst/>
                <a:gdLst>
                  <a:gd name="T0" fmla="*/ 0 w 99"/>
                  <a:gd name="T1" fmla="*/ 0 h 179"/>
                  <a:gd name="T2" fmla="*/ 0 w 99"/>
                  <a:gd name="T3" fmla="*/ 134 h 179"/>
                  <a:gd name="T4" fmla="*/ 15 w 99"/>
                  <a:gd name="T5" fmla="*/ 162 h 179"/>
                  <a:gd name="T6" fmla="*/ 34 w 99"/>
                  <a:gd name="T7" fmla="*/ 174 h 179"/>
                  <a:gd name="T8" fmla="*/ 65 w 99"/>
                  <a:gd name="T9" fmla="*/ 174 h 179"/>
                  <a:gd name="T10" fmla="*/ 84 w 99"/>
                  <a:gd name="T11" fmla="*/ 162 h 179"/>
                  <a:gd name="T12" fmla="*/ 99 w 99"/>
                  <a:gd name="T13" fmla="*/ 134 h 179"/>
                  <a:gd name="T14" fmla="*/ 99 w 99"/>
                  <a:gd name="T15" fmla="*/ 0 h 179"/>
                  <a:gd name="T16" fmla="*/ 0 w 99"/>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79">
                    <a:moveTo>
                      <a:pt x="0" y="0"/>
                    </a:moveTo>
                    <a:cubicBezTo>
                      <a:pt x="0" y="134"/>
                      <a:pt x="0" y="134"/>
                      <a:pt x="0" y="134"/>
                    </a:cubicBezTo>
                    <a:cubicBezTo>
                      <a:pt x="0" y="144"/>
                      <a:pt x="7" y="156"/>
                      <a:pt x="15" y="162"/>
                    </a:cubicBezTo>
                    <a:cubicBezTo>
                      <a:pt x="34" y="174"/>
                      <a:pt x="34" y="174"/>
                      <a:pt x="34" y="174"/>
                    </a:cubicBezTo>
                    <a:cubicBezTo>
                      <a:pt x="43" y="179"/>
                      <a:pt x="56" y="179"/>
                      <a:pt x="65" y="174"/>
                    </a:cubicBezTo>
                    <a:cubicBezTo>
                      <a:pt x="84" y="162"/>
                      <a:pt x="84" y="162"/>
                      <a:pt x="84" y="162"/>
                    </a:cubicBezTo>
                    <a:cubicBezTo>
                      <a:pt x="92" y="156"/>
                      <a:pt x="99" y="144"/>
                      <a:pt x="99" y="134"/>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50" name="Freeform 118"/>
              <p:cNvSpPr>
                <a:spLocks/>
              </p:cNvSpPr>
              <p:nvPr/>
            </p:nvSpPr>
            <p:spPr bwMode="auto">
              <a:xfrm rot="2191070">
                <a:off x="2659756" y="1726846"/>
                <a:ext cx="27376" cy="71124"/>
              </a:xfrm>
              <a:custGeom>
                <a:avLst/>
                <a:gdLst>
                  <a:gd name="T0" fmla="*/ 0 w 99"/>
                  <a:gd name="T1" fmla="*/ 0 h 179"/>
                  <a:gd name="T2" fmla="*/ 0 w 99"/>
                  <a:gd name="T3" fmla="*/ 134 h 179"/>
                  <a:gd name="T4" fmla="*/ 15 w 99"/>
                  <a:gd name="T5" fmla="*/ 162 h 179"/>
                  <a:gd name="T6" fmla="*/ 34 w 99"/>
                  <a:gd name="T7" fmla="*/ 174 h 179"/>
                  <a:gd name="T8" fmla="*/ 65 w 99"/>
                  <a:gd name="T9" fmla="*/ 174 h 179"/>
                  <a:gd name="T10" fmla="*/ 84 w 99"/>
                  <a:gd name="T11" fmla="*/ 162 h 179"/>
                  <a:gd name="T12" fmla="*/ 99 w 99"/>
                  <a:gd name="T13" fmla="*/ 134 h 179"/>
                  <a:gd name="T14" fmla="*/ 99 w 99"/>
                  <a:gd name="T15" fmla="*/ 0 h 179"/>
                  <a:gd name="T16" fmla="*/ 0 w 99"/>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79">
                    <a:moveTo>
                      <a:pt x="0" y="0"/>
                    </a:moveTo>
                    <a:cubicBezTo>
                      <a:pt x="0" y="134"/>
                      <a:pt x="0" y="134"/>
                      <a:pt x="0" y="134"/>
                    </a:cubicBezTo>
                    <a:cubicBezTo>
                      <a:pt x="0" y="144"/>
                      <a:pt x="7" y="156"/>
                      <a:pt x="15" y="162"/>
                    </a:cubicBezTo>
                    <a:cubicBezTo>
                      <a:pt x="34" y="174"/>
                      <a:pt x="34" y="174"/>
                      <a:pt x="34" y="174"/>
                    </a:cubicBezTo>
                    <a:cubicBezTo>
                      <a:pt x="43" y="179"/>
                      <a:pt x="57" y="179"/>
                      <a:pt x="65" y="174"/>
                    </a:cubicBezTo>
                    <a:cubicBezTo>
                      <a:pt x="84" y="162"/>
                      <a:pt x="84" y="162"/>
                      <a:pt x="84" y="162"/>
                    </a:cubicBezTo>
                    <a:cubicBezTo>
                      <a:pt x="92" y="156"/>
                      <a:pt x="99" y="144"/>
                      <a:pt x="99" y="134"/>
                    </a:cubicBezTo>
                    <a:cubicBezTo>
                      <a:pt x="99" y="0"/>
                      <a:pt x="99" y="0"/>
                      <a:pt x="99" y="0"/>
                    </a:cubicBezTo>
                    <a:lnTo>
                      <a:pt x="0" y="0"/>
                    </a:lnTo>
                    <a:close/>
                  </a:path>
                </a:pathLst>
              </a:custGeom>
              <a:solidFill>
                <a:srgbClr val="F6D258"/>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51" name="Freeform 119"/>
              <p:cNvSpPr>
                <a:spLocks/>
              </p:cNvSpPr>
              <p:nvPr/>
            </p:nvSpPr>
            <p:spPr bwMode="auto">
              <a:xfrm rot="2191070">
                <a:off x="2681768" y="1743099"/>
                <a:ext cx="27259" cy="71124"/>
              </a:xfrm>
              <a:custGeom>
                <a:avLst/>
                <a:gdLst>
                  <a:gd name="T0" fmla="*/ 0 w 99"/>
                  <a:gd name="T1" fmla="*/ 0 h 179"/>
                  <a:gd name="T2" fmla="*/ 0 w 99"/>
                  <a:gd name="T3" fmla="*/ 134 h 179"/>
                  <a:gd name="T4" fmla="*/ 15 w 99"/>
                  <a:gd name="T5" fmla="*/ 162 h 179"/>
                  <a:gd name="T6" fmla="*/ 35 w 99"/>
                  <a:gd name="T7" fmla="*/ 174 h 179"/>
                  <a:gd name="T8" fmla="*/ 65 w 99"/>
                  <a:gd name="T9" fmla="*/ 174 h 179"/>
                  <a:gd name="T10" fmla="*/ 84 w 99"/>
                  <a:gd name="T11" fmla="*/ 162 h 179"/>
                  <a:gd name="T12" fmla="*/ 99 w 99"/>
                  <a:gd name="T13" fmla="*/ 134 h 179"/>
                  <a:gd name="T14" fmla="*/ 99 w 99"/>
                  <a:gd name="T15" fmla="*/ 0 h 179"/>
                  <a:gd name="T16" fmla="*/ 0 w 99"/>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79">
                    <a:moveTo>
                      <a:pt x="0" y="0"/>
                    </a:moveTo>
                    <a:cubicBezTo>
                      <a:pt x="0" y="134"/>
                      <a:pt x="0" y="134"/>
                      <a:pt x="0" y="134"/>
                    </a:cubicBezTo>
                    <a:cubicBezTo>
                      <a:pt x="0" y="144"/>
                      <a:pt x="7" y="156"/>
                      <a:pt x="15" y="162"/>
                    </a:cubicBezTo>
                    <a:cubicBezTo>
                      <a:pt x="35" y="174"/>
                      <a:pt x="35" y="174"/>
                      <a:pt x="35" y="174"/>
                    </a:cubicBezTo>
                    <a:cubicBezTo>
                      <a:pt x="43" y="179"/>
                      <a:pt x="57" y="179"/>
                      <a:pt x="65" y="174"/>
                    </a:cubicBezTo>
                    <a:cubicBezTo>
                      <a:pt x="84" y="162"/>
                      <a:pt x="84" y="162"/>
                      <a:pt x="84" y="162"/>
                    </a:cubicBezTo>
                    <a:cubicBezTo>
                      <a:pt x="93" y="156"/>
                      <a:pt x="99" y="144"/>
                      <a:pt x="99" y="134"/>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52" name="Freeform 120"/>
              <p:cNvSpPr>
                <a:spLocks/>
              </p:cNvSpPr>
              <p:nvPr/>
            </p:nvSpPr>
            <p:spPr bwMode="auto">
              <a:xfrm rot="2191070">
                <a:off x="2576560" y="1848501"/>
                <a:ext cx="28065" cy="52004"/>
              </a:xfrm>
              <a:custGeom>
                <a:avLst/>
                <a:gdLst>
                  <a:gd name="T0" fmla="*/ 51 w 102"/>
                  <a:gd name="T1" fmla="*/ 0 h 131"/>
                  <a:gd name="T2" fmla="*/ 0 w 102"/>
                  <a:gd name="T3" fmla="*/ 6 h 131"/>
                  <a:gd name="T4" fmla="*/ 51 w 102"/>
                  <a:gd name="T5" fmla="*/ 131 h 131"/>
                  <a:gd name="T6" fmla="*/ 102 w 102"/>
                  <a:gd name="T7" fmla="*/ 6 h 131"/>
                  <a:gd name="T8" fmla="*/ 51 w 102"/>
                  <a:gd name="T9" fmla="*/ 0 h 131"/>
                </a:gdLst>
                <a:ahLst/>
                <a:cxnLst>
                  <a:cxn ang="0">
                    <a:pos x="T0" y="T1"/>
                  </a:cxn>
                  <a:cxn ang="0">
                    <a:pos x="T2" y="T3"/>
                  </a:cxn>
                  <a:cxn ang="0">
                    <a:pos x="T4" y="T5"/>
                  </a:cxn>
                  <a:cxn ang="0">
                    <a:pos x="T6" y="T7"/>
                  </a:cxn>
                  <a:cxn ang="0">
                    <a:pos x="T8" y="T9"/>
                  </a:cxn>
                </a:cxnLst>
                <a:rect l="0" t="0" r="r" b="b"/>
                <a:pathLst>
                  <a:path w="102" h="131">
                    <a:moveTo>
                      <a:pt x="51" y="0"/>
                    </a:moveTo>
                    <a:cubicBezTo>
                      <a:pt x="33" y="0"/>
                      <a:pt x="16" y="2"/>
                      <a:pt x="0" y="6"/>
                    </a:cubicBezTo>
                    <a:cubicBezTo>
                      <a:pt x="51" y="131"/>
                      <a:pt x="51" y="131"/>
                      <a:pt x="51" y="131"/>
                    </a:cubicBezTo>
                    <a:cubicBezTo>
                      <a:pt x="102" y="6"/>
                      <a:pt x="102" y="6"/>
                      <a:pt x="102" y="6"/>
                    </a:cubicBezTo>
                    <a:cubicBezTo>
                      <a:pt x="85" y="2"/>
                      <a:pt x="68" y="0"/>
                      <a:pt x="51" y="0"/>
                    </a:cubicBezTo>
                    <a:close/>
                  </a:path>
                </a:pathLst>
              </a:cu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53" name="Прямоугольник 152"/>
              <p:cNvSpPr/>
              <p:nvPr/>
            </p:nvSpPr>
            <p:spPr>
              <a:xfrm rot="12991070">
                <a:off x="2926468" y="1359015"/>
                <a:ext cx="81895" cy="1277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54" name="Прямоугольник 153"/>
              <p:cNvSpPr/>
              <p:nvPr/>
            </p:nvSpPr>
            <p:spPr>
              <a:xfrm rot="12991070">
                <a:off x="2933388" y="1349837"/>
                <a:ext cx="81895" cy="12773"/>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55" name="Прямоугольник 154"/>
              <p:cNvSpPr/>
              <p:nvPr/>
            </p:nvSpPr>
            <p:spPr>
              <a:xfrm rot="12991070">
                <a:off x="2939853" y="1341142"/>
                <a:ext cx="81895" cy="1277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nvGrpSpPr>
            <p:cNvPr id="56" name="Группа 55"/>
            <p:cNvGrpSpPr/>
            <p:nvPr/>
          </p:nvGrpSpPr>
          <p:grpSpPr>
            <a:xfrm>
              <a:off x="1841147" y="4359982"/>
              <a:ext cx="979912" cy="1116343"/>
              <a:chOff x="6096308" y="3128029"/>
              <a:chExt cx="979913" cy="1116337"/>
            </a:xfrm>
          </p:grpSpPr>
          <p:grpSp>
            <p:nvGrpSpPr>
              <p:cNvPr id="116" name="Группа 115"/>
              <p:cNvGrpSpPr/>
              <p:nvPr/>
            </p:nvGrpSpPr>
            <p:grpSpPr>
              <a:xfrm>
                <a:off x="6311051" y="3565435"/>
                <a:ext cx="579835" cy="678931"/>
                <a:chOff x="8029789" y="3923618"/>
                <a:chExt cx="815704" cy="789347"/>
              </a:xfrm>
            </p:grpSpPr>
            <p:sp>
              <p:nvSpPr>
                <p:cNvPr id="118" name="Овал 117"/>
                <p:cNvSpPr/>
                <p:nvPr/>
              </p:nvSpPr>
              <p:spPr>
                <a:xfrm>
                  <a:off x="8029789" y="4198213"/>
                  <a:ext cx="815704" cy="514752"/>
                </a:xfrm>
                <a:prstGeom prst="ellipse">
                  <a:avLst/>
                </a:prstGeom>
                <a:solidFill>
                  <a:srgbClr val="0A38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19" name="Скругленный прямоугольник 118"/>
                <p:cNvSpPr/>
                <p:nvPr/>
              </p:nvSpPr>
              <p:spPr>
                <a:xfrm>
                  <a:off x="8336634" y="3923618"/>
                  <a:ext cx="186693" cy="564779"/>
                </a:xfrm>
                <a:prstGeom prst="roundRect">
                  <a:avLst/>
                </a:prstGeom>
                <a:solidFill>
                  <a:srgbClr val="1B4B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117" name="Овал 116"/>
              <p:cNvSpPr/>
              <p:nvPr/>
            </p:nvSpPr>
            <p:spPr>
              <a:xfrm rot="21175351">
                <a:off x="6096308" y="3128029"/>
                <a:ext cx="979913" cy="666673"/>
              </a:xfrm>
              <a:prstGeom prst="ellipse">
                <a:avLst/>
              </a:prstGeom>
              <a:solidFill>
                <a:srgbClr val="B2CFD5"/>
              </a:solidFill>
              <a:ln>
                <a:noFill/>
              </a:ln>
              <a:scene3d>
                <a:camera prst="isometricOffAxis2Top">
                  <a:rot lat="19800000" lon="3207254" rev="18000000"/>
                </a:camera>
                <a:lightRig rig="threePt" dir="t"/>
              </a:scene3d>
              <a:sp3d extrusionH="1143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pic>
          <p:nvPicPr>
            <p:cNvPr id="57" name="Picture 44"/>
            <p:cNvPicPr>
              <a:picLocks noChangeAspect="1"/>
            </p:cNvPicPr>
            <p:nvPr/>
          </p:nvPicPr>
          <p:blipFill>
            <a:blip r:embed="rId6"/>
            <a:srcRect/>
            <a:stretch>
              <a:fillRect/>
            </a:stretch>
          </p:blipFill>
          <p:spPr bwMode="auto">
            <a:xfrm>
              <a:off x="1911068" y="4063851"/>
              <a:ext cx="896388" cy="840995"/>
            </a:xfrm>
            <a:prstGeom prst="rect">
              <a:avLst/>
            </a:prstGeom>
            <a:noFill/>
            <a:ln w="9525">
              <a:noFill/>
              <a:miter lim="800000"/>
              <a:headEnd/>
              <a:tailEnd/>
            </a:ln>
            <a:scene3d>
              <a:camera prst="isometricOffAxis2Right"/>
              <a:lightRig rig="threePt" dir="t"/>
            </a:scene3d>
          </p:spPr>
        </p:pic>
        <p:grpSp>
          <p:nvGrpSpPr>
            <p:cNvPr id="58" name="Группа 57"/>
            <p:cNvGrpSpPr/>
            <p:nvPr/>
          </p:nvGrpSpPr>
          <p:grpSpPr>
            <a:xfrm flipV="1">
              <a:off x="4300611" y="3588908"/>
              <a:ext cx="567817" cy="465700"/>
              <a:chOff x="1606606" y="1034738"/>
              <a:chExt cx="1415142" cy="1276688"/>
            </a:xfrm>
            <a:scene3d>
              <a:camera prst="isometricOffAxis2Top"/>
              <a:lightRig rig="threePt" dir="t"/>
            </a:scene3d>
          </p:grpSpPr>
          <p:sp>
            <p:nvSpPr>
              <p:cNvPr id="80" name="Прямоугольник 79"/>
              <p:cNvSpPr/>
              <p:nvPr/>
            </p:nvSpPr>
            <p:spPr>
              <a:xfrm rot="19239624">
                <a:off x="1823080" y="1191955"/>
                <a:ext cx="732079" cy="1119471"/>
              </a:xfrm>
              <a:prstGeom prst="rect">
                <a:avLst/>
              </a:prstGeom>
              <a:gradFill>
                <a:gsLst>
                  <a:gs pos="49000">
                    <a:srgbClr val="E5E5E5"/>
                  </a:gs>
                  <a:gs pos="52000">
                    <a:srgbClr val="C8C8C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81" name="Овал 80"/>
              <p:cNvSpPr/>
              <p:nvPr/>
            </p:nvSpPr>
            <p:spPr>
              <a:xfrm rot="19239624">
                <a:off x="1606606" y="1532270"/>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82" name="Овал 81"/>
              <p:cNvSpPr/>
              <p:nvPr/>
            </p:nvSpPr>
            <p:spPr>
              <a:xfrm rot="19239624">
                <a:off x="1684971" y="1468037"/>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83" name="Овал 82"/>
              <p:cNvSpPr/>
              <p:nvPr/>
            </p:nvSpPr>
            <p:spPr>
              <a:xfrm rot="19239624">
                <a:off x="1824620" y="1353580"/>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84" name="Овал 83"/>
              <p:cNvSpPr/>
              <p:nvPr/>
            </p:nvSpPr>
            <p:spPr>
              <a:xfrm rot="19239624">
                <a:off x="1991539" y="1216761"/>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85" name="Овал 84"/>
              <p:cNvSpPr/>
              <p:nvPr/>
            </p:nvSpPr>
            <p:spPr>
              <a:xfrm rot="19239624">
                <a:off x="1756316" y="1409558"/>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86" name="Овал 85"/>
              <p:cNvSpPr/>
              <p:nvPr/>
            </p:nvSpPr>
            <p:spPr>
              <a:xfrm rot="19239624">
                <a:off x="2073756" y="1149367"/>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87" name="Овал 86"/>
              <p:cNvSpPr/>
              <p:nvPr/>
            </p:nvSpPr>
            <p:spPr>
              <a:xfrm rot="19239624">
                <a:off x="1899155" y="129248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88" name="Прямоугольник 87"/>
              <p:cNvSpPr/>
              <p:nvPr/>
            </p:nvSpPr>
            <p:spPr>
              <a:xfrm rot="19239624">
                <a:off x="1674093" y="1466142"/>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89" name="Прямоугольник 88"/>
              <p:cNvSpPr/>
              <p:nvPr/>
            </p:nvSpPr>
            <p:spPr>
              <a:xfrm rot="19239624">
                <a:off x="1718829" y="1522114"/>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0" name="Прямоугольник 89"/>
              <p:cNvSpPr/>
              <p:nvPr/>
            </p:nvSpPr>
            <p:spPr>
              <a:xfrm rot="19239624">
                <a:off x="1761380" y="1574027"/>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1" name="Прямоугольник 90"/>
              <p:cNvSpPr/>
              <p:nvPr/>
            </p:nvSpPr>
            <p:spPr>
              <a:xfrm rot="19239624">
                <a:off x="1805632" y="1628018"/>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2" name="Прямоугольник 91"/>
              <p:cNvSpPr/>
              <p:nvPr/>
            </p:nvSpPr>
            <p:spPr>
              <a:xfrm rot="21252832">
                <a:off x="2058009" y="1034738"/>
                <a:ext cx="732079" cy="1119471"/>
              </a:xfrm>
              <a:prstGeom prst="rect">
                <a:avLst/>
              </a:prstGeom>
              <a:gradFill>
                <a:gsLst>
                  <a:gs pos="49000">
                    <a:srgbClr val="E5E5E5"/>
                  </a:gs>
                  <a:gs pos="52000">
                    <a:srgbClr val="C8C8C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3" name="Овал 92"/>
              <p:cNvSpPr/>
              <p:nvPr/>
            </p:nvSpPr>
            <p:spPr>
              <a:xfrm rot="21252832">
                <a:off x="2035836" y="1103588"/>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4" name="Овал 93"/>
              <p:cNvSpPr/>
              <p:nvPr/>
            </p:nvSpPr>
            <p:spPr>
              <a:xfrm rot="21252832">
                <a:off x="2136653" y="1093376"/>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5" name="Овал 94"/>
              <p:cNvSpPr/>
              <p:nvPr/>
            </p:nvSpPr>
            <p:spPr>
              <a:xfrm rot="21252832">
                <a:off x="2316290" y="107517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6" name="Овал 95"/>
              <p:cNvSpPr/>
              <p:nvPr/>
            </p:nvSpPr>
            <p:spPr>
              <a:xfrm rot="21252832">
                <a:off x="2531018" y="1053412"/>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7" name="Овал 96"/>
              <p:cNvSpPr/>
              <p:nvPr/>
            </p:nvSpPr>
            <p:spPr>
              <a:xfrm rot="21252832">
                <a:off x="2228431" y="1084076"/>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8" name="Овал 97"/>
              <p:cNvSpPr/>
              <p:nvPr/>
            </p:nvSpPr>
            <p:spPr>
              <a:xfrm rot="21252832">
                <a:off x="2636782" y="1042693"/>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99" name="Овал 98"/>
              <p:cNvSpPr/>
              <p:nvPr/>
            </p:nvSpPr>
            <p:spPr>
              <a:xfrm rot="21252832">
                <a:off x="2412176" y="1065457"/>
                <a:ext cx="70277" cy="657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00" name="Прямоугольник 99"/>
              <p:cNvSpPr/>
              <p:nvPr/>
            </p:nvSpPr>
            <p:spPr>
              <a:xfrm rot="21252832">
                <a:off x="2099699" y="1226214"/>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01" name="Прямоугольник 100"/>
              <p:cNvSpPr/>
              <p:nvPr/>
            </p:nvSpPr>
            <p:spPr>
              <a:xfrm rot="21252832">
                <a:off x="2106047" y="1297583"/>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02" name="Прямоугольник 101"/>
              <p:cNvSpPr/>
              <p:nvPr/>
            </p:nvSpPr>
            <p:spPr>
              <a:xfrm rot="21252832">
                <a:off x="2112812" y="1364366"/>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03" name="Прямоугольник 102"/>
              <p:cNvSpPr/>
              <p:nvPr/>
            </p:nvSpPr>
            <p:spPr>
              <a:xfrm rot="21252832">
                <a:off x="2119849" y="1433820"/>
                <a:ext cx="565015" cy="21327"/>
              </a:xfrm>
              <a:prstGeom prst="rect">
                <a:avLst/>
              </a:prstGeom>
              <a:solidFill>
                <a:srgbClr val="2222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04" name="Скругленный прямоугольник 103"/>
              <p:cNvSpPr/>
              <p:nvPr/>
            </p:nvSpPr>
            <p:spPr>
              <a:xfrm rot="12991070">
                <a:off x="2935556" y="1224294"/>
                <a:ext cx="80922" cy="257703"/>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05" name="Freeform 113"/>
              <p:cNvSpPr>
                <a:spLocks/>
              </p:cNvSpPr>
              <p:nvPr/>
            </p:nvSpPr>
            <p:spPr bwMode="auto">
              <a:xfrm rot="2191070">
                <a:off x="2585131" y="1740574"/>
                <a:ext cx="81895" cy="171604"/>
              </a:xfrm>
              <a:custGeom>
                <a:avLst/>
                <a:gdLst>
                  <a:gd name="T0" fmla="*/ 709 w 709"/>
                  <a:gd name="T1" fmla="*/ 161 h 1023"/>
                  <a:gd name="T2" fmla="*/ 356 w 709"/>
                  <a:gd name="T3" fmla="*/ 1023 h 1023"/>
                  <a:gd name="T4" fmla="*/ 0 w 709"/>
                  <a:gd name="T5" fmla="*/ 161 h 1023"/>
                  <a:gd name="T6" fmla="*/ 0 w 709"/>
                  <a:gd name="T7" fmla="*/ 0 h 1023"/>
                  <a:gd name="T8" fmla="*/ 709 w 709"/>
                  <a:gd name="T9" fmla="*/ 0 h 1023"/>
                  <a:gd name="T10" fmla="*/ 709 w 709"/>
                  <a:gd name="T11" fmla="*/ 161 h 1023"/>
                </a:gdLst>
                <a:ahLst/>
                <a:cxnLst>
                  <a:cxn ang="0">
                    <a:pos x="T0" y="T1"/>
                  </a:cxn>
                  <a:cxn ang="0">
                    <a:pos x="T2" y="T3"/>
                  </a:cxn>
                  <a:cxn ang="0">
                    <a:pos x="T4" y="T5"/>
                  </a:cxn>
                  <a:cxn ang="0">
                    <a:pos x="T6" y="T7"/>
                  </a:cxn>
                  <a:cxn ang="0">
                    <a:pos x="T8" y="T9"/>
                  </a:cxn>
                  <a:cxn ang="0">
                    <a:pos x="T10" y="T11"/>
                  </a:cxn>
                </a:cxnLst>
                <a:rect l="0" t="0" r="r" b="b"/>
                <a:pathLst>
                  <a:path w="709" h="1023">
                    <a:moveTo>
                      <a:pt x="709" y="161"/>
                    </a:moveTo>
                    <a:lnTo>
                      <a:pt x="356" y="1023"/>
                    </a:lnTo>
                    <a:lnTo>
                      <a:pt x="0" y="161"/>
                    </a:lnTo>
                    <a:lnTo>
                      <a:pt x="0" y="0"/>
                    </a:lnTo>
                    <a:lnTo>
                      <a:pt x="709" y="0"/>
                    </a:lnTo>
                    <a:lnTo>
                      <a:pt x="709" y="161"/>
                    </a:lnTo>
                    <a:close/>
                  </a:path>
                </a:pathLst>
              </a:custGeom>
              <a:solidFill>
                <a:srgbClr val="DDBDA3"/>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06" name="Freeform 114"/>
              <p:cNvSpPr>
                <a:spLocks/>
              </p:cNvSpPr>
              <p:nvPr/>
            </p:nvSpPr>
            <p:spPr bwMode="auto">
              <a:xfrm rot="2191070">
                <a:off x="2772929" y="1301190"/>
                <a:ext cx="27259" cy="525085"/>
              </a:xfrm>
              <a:custGeom>
                <a:avLst/>
                <a:gdLst>
                  <a:gd name="T0" fmla="*/ 0 w 99"/>
                  <a:gd name="T1" fmla="*/ 0 h 718"/>
                  <a:gd name="T2" fmla="*/ 0 w 99"/>
                  <a:gd name="T3" fmla="*/ 673 h 718"/>
                  <a:gd name="T4" fmla="*/ 15 w 99"/>
                  <a:gd name="T5" fmla="*/ 701 h 718"/>
                  <a:gd name="T6" fmla="*/ 34 w 99"/>
                  <a:gd name="T7" fmla="*/ 713 h 718"/>
                  <a:gd name="T8" fmla="*/ 65 w 99"/>
                  <a:gd name="T9" fmla="*/ 713 h 718"/>
                  <a:gd name="T10" fmla="*/ 84 w 99"/>
                  <a:gd name="T11" fmla="*/ 701 h 718"/>
                  <a:gd name="T12" fmla="*/ 99 w 99"/>
                  <a:gd name="T13" fmla="*/ 673 h 718"/>
                  <a:gd name="T14" fmla="*/ 99 w 99"/>
                  <a:gd name="T15" fmla="*/ 0 h 718"/>
                  <a:gd name="T16" fmla="*/ 0 w 99"/>
                  <a:gd name="T1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18">
                    <a:moveTo>
                      <a:pt x="0" y="0"/>
                    </a:moveTo>
                    <a:cubicBezTo>
                      <a:pt x="0" y="673"/>
                      <a:pt x="0" y="673"/>
                      <a:pt x="0" y="673"/>
                    </a:cubicBezTo>
                    <a:cubicBezTo>
                      <a:pt x="0" y="683"/>
                      <a:pt x="7" y="695"/>
                      <a:pt x="15" y="701"/>
                    </a:cubicBezTo>
                    <a:cubicBezTo>
                      <a:pt x="34" y="713"/>
                      <a:pt x="34" y="713"/>
                      <a:pt x="34" y="713"/>
                    </a:cubicBezTo>
                    <a:cubicBezTo>
                      <a:pt x="43" y="718"/>
                      <a:pt x="56" y="718"/>
                      <a:pt x="65" y="713"/>
                    </a:cubicBezTo>
                    <a:cubicBezTo>
                      <a:pt x="84" y="701"/>
                      <a:pt x="84" y="701"/>
                      <a:pt x="84" y="701"/>
                    </a:cubicBezTo>
                    <a:cubicBezTo>
                      <a:pt x="92" y="695"/>
                      <a:pt x="99" y="683"/>
                      <a:pt x="99" y="673"/>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07" name="Freeform 115"/>
              <p:cNvSpPr>
                <a:spLocks/>
              </p:cNvSpPr>
              <p:nvPr/>
            </p:nvSpPr>
            <p:spPr bwMode="auto">
              <a:xfrm rot="2191070">
                <a:off x="2794824" y="1317442"/>
                <a:ext cx="27376" cy="525085"/>
              </a:xfrm>
              <a:custGeom>
                <a:avLst/>
                <a:gdLst>
                  <a:gd name="T0" fmla="*/ 0 w 99"/>
                  <a:gd name="T1" fmla="*/ 0 h 718"/>
                  <a:gd name="T2" fmla="*/ 0 w 99"/>
                  <a:gd name="T3" fmla="*/ 673 h 718"/>
                  <a:gd name="T4" fmla="*/ 15 w 99"/>
                  <a:gd name="T5" fmla="*/ 701 h 718"/>
                  <a:gd name="T6" fmla="*/ 34 w 99"/>
                  <a:gd name="T7" fmla="*/ 713 h 718"/>
                  <a:gd name="T8" fmla="*/ 65 w 99"/>
                  <a:gd name="T9" fmla="*/ 713 h 718"/>
                  <a:gd name="T10" fmla="*/ 84 w 99"/>
                  <a:gd name="T11" fmla="*/ 701 h 718"/>
                  <a:gd name="T12" fmla="*/ 99 w 99"/>
                  <a:gd name="T13" fmla="*/ 673 h 718"/>
                  <a:gd name="T14" fmla="*/ 99 w 99"/>
                  <a:gd name="T15" fmla="*/ 0 h 718"/>
                  <a:gd name="T16" fmla="*/ 0 w 99"/>
                  <a:gd name="T1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18">
                    <a:moveTo>
                      <a:pt x="0" y="0"/>
                    </a:moveTo>
                    <a:cubicBezTo>
                      <a:pt x="0" y="673"/>
                      <a:pt x="0" y="673"/>
                      <a:pt x="0" y="673"/>
                    </a:cubicBezTo>
                    <a:cubicBezTo>
                      <a:pt x="0" y="683"/>
                      <a:pt x="7" y="695"/>
                      <a:pt x="15" y="701"/>
                    </a:cubicBezTo>
                    <a:cubicBezTo>
                      <a:pt x="34" y="713"/>
                      <a:pt x="34" y="713"/>
                      <a:pt x="34" y="713"/>
                    </a:cubicBezTo>
                    <a:cubicBezTo>
                      <a:pt x="43" y="718"/>
                      <a:pt x="57" y="718"/>
                      <a:pt x="65" y="713"/>
                    </a:cubicBezTo>
                    <a:cubicBezTo>
                      <a:pt x="84" y="701"/>
                      <a:pt x="84" y="701"/>
                      <a:pt x="84" y="701"/>
                    </a:cubicBezTo>
                    <a:cubicBezTo>
                      <a:pt x="92" y="695"/>
                      <a:pt x="99" y="683"/>
                      <a:pt x="99" y="673"/>
                    </a:cubicBezTo>
                    <a:cubicBezTo>
                      <a:pt x="99" y="0"/>
                      <a:pt x="99" y="0"/>
                      <a:pt x="99" y="0"/>
                    </a:cubicBezTo>
                    <a:lnTo>
                      <a:pt x="0" y="0"/>
                    </a:lnTo>
                    <a:close/>
                  </a:path>
                </a:pathLst>
              </a:custGeom>
              <a:solidFill>
                <a:srgbClr val="F6D258"/>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08" name="Freeform 116"/>
              <p:cNvSpPr>
                <a:spLocks/>
              </p:cNvSpPr>
              <p:nvPr/>
            </p:nvSpPr>
            <p:spPr bwMode="auto">
              <a:xfrm rot="2191070">
                <a:off x="2816836" y="1333701"/>
                <a:ext cx="27259" cy="525085"/>
              </a:xfrm>
              <a:custGeom>
                <a:avLst/>
                <a:gdLst>
                  <a:gd name="T0" fmla="*/ 0 w 99"/>
                  <a:gd name="T1" fmla="*/ 0 h 718"/>
                  <a:gd name="T2" fmla="*/ 0 w 99"/>
                  <a:gd name="T3" fmla="*/ 673 h 718"/>
                  <a:gd name="T4" fmla="*/ 15 w 99"/>
                  <a:gd name="T5" fmla="*/ 701 h 718"/>
                  <a:gd name="T6" fmla="*/ 35 w 99"/>
                  <a:gd name="T7" fmla="*/ 713 h 718"/>
                  <a:gd name="T8" fmla="*/ 65 w 99"/>
                  <a:gd name="T9" fmla="*/ 713 h 718"/>
                  <a:gd name="T10" fmla="*/ 84 w 99"/>
                  <a:gd name="T11" fmla="*/ 701 h 718"/>
                  <a:gd name="T12" fmla="*/ 99 w 99"/>
                  <a:gd name="T13" fmla="*/ 673 h 718"/>
                  <a:gd name="T14" fmla="*/ 99 w 99"/>
                  <a:gd name="T15" fmla="*/ 0 h 718"/>
                  <a:gd name="T16" fmla="*/ 0 w 99"/>
                  <a:gd name="T17"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18">
                    <a:moveTo>
                      <a:pt x="0" y="0"/>
                    </a:moveTo>
                    <a:cubicBezTo>
                      <a:pt x="0" y="673"/>
                      <a:pt x="0" y="673"/>
                      <a:pt x="0" y="673"/>
                    </a:cubicBezTo>
                    <a:cubicBezTo>
                      <a:pt x="0" y="683"/>
                      <a:pt x="7" y="695"/>
                      <a:pt x="15" y="701"/>
                    </a:cubicBezTo>
                    <a:cubicBezTo>
                      <a:pt x="35" y="713"/>
                      <a:pt x="35" y="713"/>
                      <a:pt x="35" y="713"/>
                    </a:cubicBezTo>
                    <a:cubicBezTo>
                      <a:pt x="43" y="718"/>
                      <a:pt x="57" y="718"/>
                      <a:pt x="65" y="713"/>
                    </a:cubicBezTo>
                    <a:cubicBezTo>
                      <a:pt x="84" y="701"/>
                      <a:pt x="84" y="701"/>
                      <a:pt x="84" y="701"/>
                    </a:cubicBezTo>
                    <a:cubicBezTo>
                      <a:pt x="93" y="695"/>
                      <a:pt x="99" y="683"/>
                      <a:pt x="99" y="673"/>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09" name="Freeform 117"/>
              <p:cNvSpPr>
                <a:spLocks/>
              </p:cNvSpPr>
              <p:nvPr/>
            </p:nvSpPr>
            <p:spPr bwMode="auto">
              <a:xfrm rot="2191070">
                <a:off x="2637860" y="1710588"/>
                <a:ext cx="27259" cy="71124"/>
              </a:xfrm>
              <a:custGeom>
                <a:avLst/>
                <a:gdLst>
                  <a:gd name="T0" fmla="*/ 0 w 99"/>
                  <a:gd name="T1" fmla="*/ 0 h 179"/>
                  <a:gd name="T2" fmla="*/ 0 w 99"/>
                  <a:gd name="T3" fmla="*/ 134 h 179"/>
                  <a:gd name="T4" fmla="*/ 15 w 99"/>
                  <a:gd name="T5" fmla="*/ 162 h 179"/>
                  <a:gd name="T6" fmla="*/ 34 w 99"/>
                  <a:gd name="T7" fmla="*/ 174 h 179"/>
                  <a:gd name="T8" fmla="*/ 65 w 99"/>
                  <a:gd name="T9" fmla="*/ 174 h 179"/>
                  <a:gd name="T10" fmla="*/ 84 w 99"/>
                  <a:gd name="T11" fmla="*/ 162 h 179"/>
                  <a:gd name="T12" fmla="*/ 99 w 99"/>
                  <a:gd name="T13" fmla="*/ 134 h 179"/>
                  <a:gd name="T14" fmla="*/ 99 w 99"/>
                  <a:gd name="T15" fmla="*/ 0 h 179"/>
                  <a:gd name="T16" fmla="*/ 0 w 99"/>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79">
                    <a:moveTo>
                      <a:pt x="0" y="0"/>
                    </a:moveTo>
                    <a:cubicBezTo>
                      <a:pt x="0" y="134"/>
                      <a:pt x="0" y="134"/>
                      <a:pt x="0" y="134"/>
                    </a:cubicBezTo>
                    <a:cubicBezTo>
                      <a:pt x="0" y="144"/>
                      <a:pt x="7" y="156"/>
                      <a:pt x="15" y="162"/>
                    </a:cubicBezTo>
                    <a:cubicBezTo>
                      <a:pt x="34" y="174"/>
                      <a:pt x="34" y="174"/>
                      <a:pt x="34" y="174"/>
                    </a:cubicBezTo>
                    <a:cubicBezTo>
                      <a:pt x="43" y="179"/>
                      <a:pt x="56" y="179"/>
                      <a:pt x="65" y="174"/>
                    </a:cubicBezTo>
                    <a:cubicBezTo>
                      <a:pt x="84" y="162"/>
                      <a:pt x="84" y="162"/>
                      <a:pt x="84" y="162"/>
                    </a:cubicBezTo>
                    <a:cubicBezTo>
                      <a:pt x="92" y="156"/>
                      <a:pt x="99" y="144"/>
                      <a:pt x="99" y="134"/>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10" name="Freeform 118"/>
              <p:cNvSpPr>
                <a:spLocks/>
              </p:cNvSpPr>
              <p:nvPr/>
            </p:nvSpPr>
            <p:spPr bwMode="auto">
              <a:xfrm rot="2191070">
                <a:off x="2659756" y="1726846"/>
                <a:ext cx="27376" cy="71124"/>
              </a:xfrm>
              <a:custGeom>
                <a:avLst/>
                <a:gdLst>
                  <a:gd name="T0" fmla="*/ 0 w 99"/>
                  <a:gd name="T1" fmla="*/ 0 h 179"/>
                  <a:gd name="T2" fmla="*/ 0 w 99"/>
                  <a:gd name="T3" fmla="*/ 134 h 179"/>
                  <a:gd name="T4" fmla="*/ 15 w 99"/>
                  <a:gd name="T5" fmla="*/ 162 h 179"/>
                  <a:gd name="T6" fmla="*/ 34 w 99"/>
                  <a:gd name="T7" fmla="*/ 174 h 179"/>
                  <a:gd name="T8" fmla="*/ 65 w 99"/>
                  <a:gd name="T9" fmla="*/ 174 h 179"/>
                  <a:gd name="T10" fmla="*/ 84 w 99"/>
                  <a:gd name="T11" fmla="*/ 162 h 179"/>
                  <a:gd name="T12" fmla="*/ 99 w 99"/>
                  <a:gd name="T13" fmla="*/ 134 h 179"/>
                  <a:gd name="T14" fmla="*/ 99 w 99"/>
                  <a:gd name="T15" fmla="*/ 0 h 179"/>
                  <a:gd name="T16" fmla="*/ 0 w 99"/>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79">
                    <a:moveTo>
                      <a:pt x="0" y="0"/>
                    </a:moveTo>
                    <a:cubicBezTo>
                      <a:pt x="0" y="134"/>
                      <a:pt x="0" y="134"/>
                      <a:pt x="0" y="134"/>
                    </a:cubicBezTo>
                    <a:cubicBezTo>
                      <a:pt x="0" y="144"/>
                      <a:pt x="7" y="156"/>
                      <a:pt x="15" y="162"/>
                    </a:cubicBezTo>
                    <a:cubicBezTo>
                      <a:pt x="34" y="174"/>
                      <a:pt x="34" y="174"/>
                      <a:pt x="34" y="174"/>
                    </a:cubicBezTo>
                    <a:cubicBezTo>
                      <a:pt x="43" y="179"/>
                      <a:pt x="57" y="179"/>
                      <a:pt x="65" y="174"/>
                    </a:cubicBezTo>
                    <a:cubicBezTo>
                      <a:pt x="84" y="162"/>
                      <a:pt x="84" y="162"/>
                      <a:pt x="84" y="162"/>
                    </a:cubicBezTo>
                    <a:cubicBezTo>
                      <a:pt x="92" y="156"/>
                      <a:pt x="99" y="144"/>
                      <a:pt x="99" y="134"/>
                    </a:cubicBezTo>
                    <a:cubicBezTo>
                      <a:pt x="99" y="0"/>
                      <a:pt x="99" y="0"/>
                      <a:pt x="99" y="0"/>
                    </a:cubicBezTo>
                    <a:lnTo>
                      <a:pt x="0" y="0"/>
                    </a:lnTo>
                    <a:close/>
                  </a:path>
                </a:pathLst>
              </a:custGeom>
              <a:solidFill>
                <a:srgbClr val="F6D258"/>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11" name="Freeform 119"/>
              <p:cNvSpPr>
                <a:spLocks/>
              </p:cNvSpPr>
              <p:nvPr/>
            </p:nvSpPr>
            <p:spPr bwMode="auto">
              <a:xfrm rot="2191070">
                <a:off x="2681768" y="1743099"/>
                <a:ext cx="27259" cy="71124"/>
              </a:xfrm>
              <a:custGeom>
                <a:avLst/>
                <a:gdLst>
                  <a:gd name="T0" fmla="*/ 0 w 99"/>
                  <a:gd name="T1" fmla="*/ 0 h 179"/>
                  <a:gd name="T2" fmla="*/ 0 w 99"/>
                  <a:gd name="T3" fmla="*/ 134 h 179"/>
                  <a:gd name="T4" fmla="*/ 15 w 99"/>
                  <a:gd name="T5" fmla="*/ 162 h 179"/>
                  <a:gd name="T6" fmla="*/ 35 w 99"/>
                  <a:gd name="T7" fmla="*/ 174 h 179"/>
                  <a:gd name="T8" fmla="*/ 65 w 99"/>
                  <a:gd name="T9" fmla="*/ 174 h 179"/>
                  <a:gd name="T10" fmla="*/ 84 w 99"/>
                  <a:gd name="T11" fmla="*/ 162 h 179"/>
                  <a:gd name="T12" fmla="*/ 99 w 99"/>
                  <a:gd name="T13" fmla="*/ 134 h 179"/>
                  <a:gd name="T14" fmla="*/ 99 w 99"/>
                  <a:gd name="T15" fmla="*/ 0 h 179"/>
                  <a:gd name="T16" fmla="*/ 0 w 99"/>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79">
                    <a:moveTo>
                      <a:pt x="0" y="0"/>
                    </a:moveTo>
                    <a:cubicBezTo>
                      <a:pt x="0" y="134"/>
                      <a:pt x="0" y="134"/>
                      <a:pt x="0" y="134"/>
                    </a:cubicBezTo>
                    <a:cubicBezTo>
                      <a:pt x="0" y="144"/>
                      <a:pt x="7" y="156"/>
                      <a:pt x="15" y="162"/>
                    </a:cubicBezTo>
                    <a:cubicBezTo>
                      <a:pt x="35" y="174"/>
                      <a:pt x="35" y="174"/>
                      <a:pt x="35" y="174"/>
                    </a:cubicBezTo>
                    <a:cubicBezTo>
                      <a:pt x="43" y="179"/>
                      <a:pt x="57" y="179"/>
                      <a:pt x="65" y="174"/>
                    </a:cubicBezTo>
                    <a:cubicBezTo>
                      <a:pt x="84" y="162"/>
                      <a:pt x="84" y="162"/>
                      <a:pt x="84" y="162"/>
                    </a:cubicBezTo>
                    <a:cubicBezTo>
                      <a:pt x="93" y="156"/>
                      <a:pt x="99" y="144"/>
                      <a:pt x="99" y="134"/>
                    </a:cubicBezTo>
                    <a:cubicBezTo>
                      <a:pt x="99" y="0"/>
                      <a:pt x="99" y="0"/>
                      <a:pt x="99" y="0"/>
                    </a:cubicBezTo>
                    <a:lnTo>
                      <a:pt x="0" y="0"/>
                    </a:lnTo>
                    <a:close/>
                  </a:path>
                </a:pathLst>
              </a:custGeom>
              <a:solidFill>
                <a:srgbClr val="E6AF00"/>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12" name="Freeform 120"/>
              <p:cNvSpPr>
                <a:spLocks/>
              </p:cNvSpPr>
              <p:nvPr/>
            </p:nvSpPr>
            <p:spPr bwMode="auto">
              <a:xfrm rot="2191070">
                <a:off x="2576560" y="1848501"/>
                <a:ext cx="28065" cy="52004"/>
              </a:xfrm>
              <a:custGeom>
                <a:avLst/>
                <a:gdLst>
                  <a:gd name="T0" fmla="*/ 51 w 102"/>
                  <a:gd name="T1" fmla="*/ 0 h 131"/>
                  <a:gd name="T2" fmla="*/ 0 w 102"/>
                  <a:gd name="T3" fmla="*/ 6 h 131"/>
                  <a:gd name="T4" fmla="*/ 51 w 102"/>
                  <a:gd name="T5" fmla="*/ 131 h 131"/>
                  <a:gd name="T6" fmla="*/ 102 w 102"/>
                  <a:gd name="T7" fmla="*/ 6 h 131"/>
                  <a:gd name="T8" fmla="*/ 51 w 102"/>
                  <a:gd name="T9" fmla="*/ 0 h 131"/>
                </a:gdLst>
                <a:ahLst/>
                <a:cxnLst>
                  <a:cxn ang="0">
                    <a:pos x="T0" y="T1"/>
                  </a:cxn>
                  <a:cxn ang="0">
                    <a:pos x="T2" y="T3"/>
                  </a:cxn>
                  <a:cxn ang="0">
                    <a:pos x="T4" y="T5"/>
                  </a:cxn>
                  <a:cxn ang="0">
                    <a:pos x="T6" y="T7"/>
                  </a:cxn>
                  <a:cxn ang="0">
                    <a:pos x="T8" y="T9"/>
                  </a:cxn>
                </a:cxnLst>
                <a:rect l="0" t="0" r="r" b="b"/>
                <a:pathLst>
                  <a:path w="102" h="131">
                    <a:moveTo>
                      <a:pt x="51" y="0"/>
                    </a:moveTo>
                    <a:cubicBezTo>
                      <a:pt x="33" y="0"/>
                      <a:pt x="16" y="2"/>
                      <a:pt x="0" y="6"/>
                    </a:cubicBezTo>
                    <a:cubicBezTo>
                      <a:pt x="51" y="131"/>
                      <a:pt x="51" y="131"/>
                      <a:pt x="51" y="131"/>
                    </a:cubicBezTo>
                    <a:cubicBezTo>
                      <a:pt x="102" y="6"/>
                      <a:pt x="102" y="6"/>
                      <a:pt x="102" y="6"/>
                    </a:cubicBezTo>
                    <a:cubicBezTo>
                      <a:pt x="85" y="2"/>
                      <a:pt x="68" y="0"/>
                      <a:pt x="51" y="0"/>
                    </a:cubicBezTo>
                    <a:close/>
                  </a:path>
                </a:pathLst>
              </a:cu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endParaRPr lang="id-ID" sz="1350">
                  <a:latin typeface="+mj-lt"/>
                </a:endParaRPr>
              </a:p>
            </p:txBody>
          </p:sp>
          <p:sp>
            <p:nvSpPr>
              <p:cNvPr id="113" name="Прямоугольник 112"/>
              <p:cNvSpPr/>
              <p:nvPr/>
            </p:nvSpPr>
            <p:spPr>
              <a:xfrm rot="12991070">
                <a:off x="2926468" y="1359015"/>
                <a:ext cx="81895" cy="1277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14" name="Прямоугольник 113"/>
              <p:cNvSpPr/>
              <p:nvPr/>
            </p:nvSpPr>
            <p:spPr>
              <a:xfrm rot="12991070">
                <a:off x="2933388" y="1349837"/>
                <a:ext cx="81895" cy="12773"/>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115" name="Прямоугольник 114"/>
              <p:cNvSpPr/>
              <p:nvPr/>
            </p:nvSpPr>
            <p:spPr>
              <a:xfrm rot="12991070">
                <a:off x="2939853" y="1341142"/>
                <a:ext cx="81895" cy="1277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nvGrpSpPr>
            <p:cNvPr id="59" name="Группа 58"/>
            <p:cNvGrpSpPr/>
            <p:nvPr/>
          </p:nvGrpSpPr>
          <p:grpSpPr>
            <a:xfrm flipH="1">
              <a:off x="5309154" y="4060311"/>
              <a:ext cx="222973" cy="162762"/>
              <a:chOff x="5705405" y="1804792"/>
              <a:chExt cx="417469" cy="304759"/>
            </a:xfrm>
          </p:grpSpPr>
          <p:grpSp>
            <p:nvGrpSpPr>
              <p:cNvPr id="71" name="Группа 70"/>
              <p:cNvGrpSpPr/>
              <p:nvPr/>
            </p:nvGrpSpPr>
            <p:grpSpPr>
              <a:xfrm rot="7237435" flipH="1" flipV="1">
                <a:off x="5875826" y="1862503"/>
                <a:ext cx="196133" cy="297963"/>
                <a:chOff x="6789966" y="3150825"/>
                <a:chExt cx="261289" cy="396605"/>
              </a:xfrm>
              <a:solidFill>
                <a:srgbClr val="FBE3B8"/>
              </a:solidFill>
            </p:grpSpPr>
            <p:sp>
              <p:nvSpPr>
                <p:cNvPr id="74" name="Скругленный прямоугольник 73"/>
                <p:cNvSpPr/>
                <p:nvPr/>
              </p:nvSpPr>
              <p:spPr>
                <a:xfrm>
                  <a:off x="6789966" y="3153089"/>
                  <a:ext cx="226601" cy="254509"/>
                </a:xfrm>
                <a:prstGeom prst="roundRect">
                  <a:avLst>
                    <a:gd name="adj" fmla="val 342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75" name="Скругленный прямоугольник 74"/>
                <p:cNvSpPr/>
                <p:nvPr/>
              </p:nvSpPr>
              <p:spPr>
                <a:xfrm>
                  <a:off x="6794911" y="3220114"/>
                  <a:ext cx="44506" cy="25450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76" name="Скругленный прямоугольник 75"/>
                <p:cNvSpPr/>
                <p:nvPr/>
              </p:nvSpPr>
              <p:spPr>
                <a:xfrm>
                  <a:off x="6847625" y="3247373"/>
                  <a:ext cx="44506" cy="25450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77" name="Скругленный прямоугольник 76"/>
                <p:cNvSpPr/>
                <p:nvPr/>
              </p:nvSpPr>
              <p:spPr>
                <a:xfrm>
                  <a:off x="6899312" y="3292922"/>
                  <a:ext cx="44506" cy="25450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78" name="Скругленный прямоугольник 77"/>
                <p:cNvSpPr/>
                <p:nvPr/>
              </p:nvSpPr>
              <p:spPr>
                <a:xfrm>
                  <a:off x="6952382" y="3270621"/>
                  <a:ext cx="44507" cy="2545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79" name="Скругленный прямоугольник 78"/>
                <p:cNvSpPr/>
                <p:nvPr/>
              </p:nvSpPr>
              <p:spPr>
                <a:xfrm rot="19864124">
                  <a:off x="7005536" y="3150825"/>
                  <a:ext cx="45719" cy="2545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72" name="Овал 71"/>
              <p:cNvSpPr/>
              <p:nvPr/>
            </p:nvSpPr>
            <p:spPr>
              <a:xfrm rot="17328522" flipV="1">
                <a:off x="5668545" y="1841652"/>
                <a:ext cx="187639" cy="113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73" name="Скругленный прямоугольник 72"/>
              <p:cNvSpPr/>
              <p:nvPr/>
            </p:nvSpPr>
            <p:spPr>
              <a:xfrm rot="7237435" flipH="1" flipV="1">
                <a:off x="5763609" y="1844513"/>
                <a:ext cx="91222" cy="183184"/>
              </a:xfrm>
              <a:prstGeom prst="roundRect">
                <a:avLst>
                  <a:gd name="adj" fmla="val 50000"/>
                </a:avLst>
              </a:prstGeom>
              <a:solidFill>
                <a:srgbClr val="FBE3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nvGrpSpPr>
            <p:cNvPr id="60" name="Группа 59"/>
            <p:cNvGrpSpPr/>
            <p:nvPr/>
          </p:nvGrpSpPr>
          <p:grpSpPr>
            <a:xfrm rot="7350151">
              <a:off x="5132189" y="3981583"/>
              <a:ext cx="184276" cy="134513"/>
              <a:chOff x="5705383" y="1804798"/>
              <a:chExt cx="417527" cy="304758"/>
            </a:xfrm>
          </p:grpSpPr>
          <p:grpSp>
            <p:nvGrpSpPr>
              <p:cNvPr id="61" name="Группа 60"/>
              <p:cNvGrpSpPr/>
              <p:nvPr/>
            </p:nvGrpSpPr>
            <p:grpSpPr>
              <a:xfrm rot="7237435" flipH="1" flipV="1">
                <a:off x="5875862" y="1862508"/>
                <a:ext cx="196134" cy="297962"/>
                <a:chOff x="6790255" y="3150821"/>
                <a:chExt cx="261002" cy="396610"/>
              </a:xfrm>
              <a:solidFill>
                <a:srgbClr val="FBE3B8"/>
              </a:solidFill>
            </p:grpSpPr>
            <p:sp>
              <p:nvSpPr>
                <p:cNvPr id="64" name="Скругленный прямоугольник 63"/>
                <p:cNvSpPr/>
                <p:nvPr/>
              </p:nvSpPr>
              <p:spPr>
                <a:xfrm>
                  <a:off x="6790255" y="3153061"/>
                  <a:ext cx="226609" cy="254511"/>
                </a:xfrm>
                <a:prstGeom prst="roundRect">
                  <a:avLst>
                    <a:gd name="adj" fmla="val 3423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65" name="Скругленный прямоугольник 64"/>
                <p:cNvSpPr/>
                <p:nvPr/>
              </p:nvSpPr>
              <p:spPr>
                <a:xfrm>
                  <a:off x="6795088" y="3220080"/>
                  <a:ext cx="44505" cy="254511"/>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67" name="Скругленный прямоугольник 66"/>
                <p:cNvSpPr/>
                <p:nvPr/>
              </p:nvSpPr>
              <p:spPr>
                <a:xfrm>
                  <a:off x="6847828" y="3247342"/>
                  <a:ext cx="44505" cy="254511"/>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68" name="Скругленный прямоугольник 67"/>
                <p:cNvSpPr/>
                <p:nvPr/>
              </p:nvSpPr>
              <p:spPr>
                <a:xfrm>
                  <a:off x="6899596" y="3292919"/>
                  <a:ext cx="44506" cy="254512"/>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69" name="Скругленный прямоугольник 68"/>
                <p:cNvSpPr/>
                <p:nvPr/>
              </p:nvSpPr>
              <p:spPr>
                <a:xfrm>
                  <a:off x="6952311" y="3270625"/>
                  <a:ext cx="44505" cy="254511"/>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70" name="Скругленный прямоугольник 69"/>
                <p:cNvSpPr/>
                <p:nvPr/>
              </p:nvSpPr>
              <p:spPr>
                <a:xfrm rot="19864124">
                  <a:off x="7005535" y="3150821"/>
                  <a:ext cx="45722" cy="254511"/>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sp>
            <p:nvSpPr>
              <p:cNvPr id="62" name="Овал 61"/>
              <p:cNvSpPr/>
              <p:nvPr/>
            </p:nvSpPr>
            <p:spPr>
              <a:xfrm rot="17328522" flipV="1">
                <a:off x="5668524" y="1841657"/>
                <a:ext cx="187639" cy="1139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63" name="Скругленный прямоугольник 62"/>
              <p:cNvSpPr/>
              <p:nvPr/>
            </p:nvSpPr>
            <p:spPr>
              <a:xfrm rot="7237435" flipH="1" flipV="1">
                <a:off x="5763608" y="1844514"/>
                <a:ext cx="91222" cy="183181"/>
              </a:xfrm>
              <a:prstGeom prst="roundRect">
                <a:avLst>
                  <a:gd name="adj" fmla="val 50000"/>
                </a:avLst>
              </a:prstGeom>
              <a:solidFill>
                <a:srgbClr val="FBE3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grpSp>
      </p:grpSp>
      <p:sp>
        <p:nvSpPr>
          <p:cNvPr id="320" name="Полилиния 319"/>
          <p:cNvSpPr/>
          <p:nvPr/>
        </p:nvSpPr>
        <p:spPr>
          <a:xfrm>
            <a:off x="668273" y="1366931"/>
            <a:ext cx="88679" cy="159744"/>
          </a:xfrm>
          <a:custGeom>
            <a:avLst/>
            <a:gdLst>
              <a:gd name="connsiteX0" fmla="*/ 0 w 152400"/>
              <a:gd name="connsiteY0" fmla="*/ 80963 h 271463"/>
              <a:gd name="connsiteX1" fmla="*/ 0 w 152400"/>
              <a:gd name="connsiteY1" fmla="*/ 271463 h 271463"/>
              <a:gd name="connsiteX2" fmla="*/ 152400 w 152400"/>
              <a:gd name="connsiteY2" fmla="*/ 178594 h 271463"/>
              <a:gd name="connsiteX3" fmla="*/ 145257 w 152400"/>
              <a:gd name="connsiteY3" fmla="*/ 0 h 271463"/>
              <a:gd name="connsiteX4" fmla="*/ 0 w 152400"/>
              <a:gd name="connsiteY4" fmla="*/ 80963 h 271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271463">
                <a:moveTo>
                  <a:pt x="0" y="80963"/>
                </a:moveTo>
                <a:lnTo>
                  <a:pt x="0" y="271463"/>
                </a:lnTo>
                <a:lnTo>
                  <a:pt x="152400" y="178594"/>
                </a:lnTo>
                <a:lnTo>
                  <a:pt x="145257" y="0"/>
                </a:lnTo>
                <a:lnTo>
                  <a:pt x="0" y="80963"/>
                </a:lnTo>
                <a:close/>
              </a:path>
            </a:pathLst>
          </a:custGeom>
          <a:solidFill>
            <a:schemeClr val="bg1">
              <a:lumMod val="95000"/>
            </a:schemeClr>
          </a:solidFill>
          <a:ln>
            <a:noFill/>
          </a:ln>
          <a:effectLst>
            <a:glow rad="1270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latin typeface="+mj-lt"/>
            </a:endParaRPr>
          </a:p>
        </p:txBody>
      </p:sp>
      <p:sp>
        <p:nvSpPr>
          <p:cNvPr id="321" name="TextBox 83"/>
          <p:cNvSpPr txBox="1">
            <a:spLocks noChangeArrowheads="1"/>
          </p:cNvSpPr>
          <p:nvPr/>
        </p:nvSpPr>
        <p:spPr bwMode="auto">
          <a:xfrm>
            <a:off x="450522" y="1934587"/>
            <a:ext cx="1558137" cy="400110"/>
          </a:xfrm>
          <a:prstGeom prst="rect">
            <a:avLst/>
          </a:prstGeom>
          <a:noFill/>
          <a:ln w="9525">
            <a:noFill/>
            <a:miter lim="800000"/>
            <a:headEnd/>
            <a:tailEnd/>
          </a:ln>
        </p:spPr>
        <p:txBody>
          <a:bodyPr wrap="square">
            <a:spAutoFit/>
          </a:bodyPr>
          <a:lstStyle/>
          <a:p>
            <a:pPr algn="ctr">
              <a:lnSpc>
                <a:spcPts val="1200"/>
              </a:lnSpc>
            </a:pPr>
            <a:r>
              <a:rPr lang="ru-RU" sz="1200" b="1" dirty="0" err="1" smtClean="0">
                <a:solidFill>
                  <a:srgbClr val="FF0000"/>
                </a:solidFill>
                <a:latin typeface="+mj-lt"/>
                <a:cs typeface="Arial" pitchFamily="34" charset="0"/>
              </a:rPr>
              <a:t>Пәтерлер</a:t>
            </a:r>
            <a:r>
              <a:rPr lang="ru-RU" sz="1200" b="1" dirty="0" smtClean="0">
                <a:solidFill>
                  <a:srgbClr val="FF0000"/>
                </a:solidFill>
                <a:latin typeface="+mj-lt"/>
                <a:cs typeface="Arial" pitchFamily="34" charset="0"/>
              </a:rPr>
              <a:t> </a:t>
            </a:r>
            <a:r>
              <a:rPr lang="ru-RU" sz="1200" b="1" dirty="0" err="1" smtClean="0">
                <a:solidFill>
                  <a:srgbClr val="FF0000"/>
                </a:solidFill>
                <a:latin typeface="+mj-lt"/>
                <a:cs typeface="Arial" pitchFamily="34" charset="0"/>
              </a:rPr>
              <a:t>меншік</a:t>
            </a:r>
            <a:r>
              <a:rPr lang="ru-RU" sz="1200" b="1" dirty="0" smtClean="0">
                <a:solidFill>
                  <a:srgbClr val="FF0000"/>
                </a:solidFill>
                <a:latin typeface="+mj-lt"/>
                <a:cs typeface="Arial" pitchFamily="34" charset="0"/>
              </a:rPr>
              <a:t> </a:t>
            </a:r>
            <a:r>
              <a:rPr lang="ru-RU" sz="1200" b="1" dirty="0" err="1" smtClean="0">
                <a:solidFill>
                  <a:srgbClr val="FF0000"/>
                </a:solidFill>
                <a:latin typeface="+mj-lt"/>
                <a:cs typeface="Arial" pitchFamily="34" charset="0"/>
              </a:rPr>
              <a:t>иелері</a:t>
            </a:r>
            <a:r>
              <a:rPr lang="ru-RU" sz="1200" b="1" dirty="0" smtClean="0">
                <a:solidFill>
                  <a:srgbClr val="FF0000"/>
                </a:solidFill>
                <a:latin typeface="+mj-lt"/>
                <a:cs typeface="Arial" pitchFamily="34" charset="0"/>
              </a:rPr>
              <a:t> </a:t>
            </a:r>
            <a:endParaRPr lang="ru-RU" sz="1200" b="1" dirty="0">
              <a:solidFill>
                <a:srgbClr val="FF0000"/>
              </a:solidFill>
              <a:latin typeface="+mj-lt"/>
              <a:cs typeface="Arial" pitchFamily="34" charset="0"/>
            </a:endParaRPr>
          </a:p>
        </p:txBody>
      </p:sp>
      <p:grpSp>
        <p:nvGrpSpPr>
          <p:cNvPr id="322" name="Группа 321"/>
          <p:cNvGrpSpPr/>
          <p:nvPr/>
        </p:nvGrpSpPr>
        <p:grpSpPr>
          <a:xfrm>
            <a:off x="5150299" y="2078204"/>
            <a:ext cx="1573488" cy="1655406"/>
            <a:chOff x="1196746" y="595614"/>
            <a:chExt cx="768049" cy="768049"/>
          </a:xfrm>
        </p:grpSpPr>
        <p:sp>
          <p:nvSpPr>
            <p:cNvPr id="323" name="Овал 322"/>
            <p:cNvSpPr/>
            <p:nvPr/>
          </p:nvSpPr>
          <p:spPr>
            <a:xfrm>
              <a:off x="1196746" y="595614"/>
              <a:ext cx="768049" cy="768049"/>
            </a:xfrm>
            <a:prstGeom prst="ellipse">
              <a:avLst/>
            </a:prstGeom>
            <a:solidFill>
              <a:schemeClr val="bg1">
                <a:lumMod val="85000"/>
              </a:schemeClr>
            </a:solidFill>
            <a:ln>
              <a:noFill/>
            </a:ln>
            <a:effectLst>
              <a:outerShdw blurRad="50800" dist="177800" dir="1680000" algn="ctr" rotWithShape="0">
                <a:schemeClr val="tx1">
                  <a:alpha val="3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4" name="Овал 323"/>
            <p:cNvSpPr/>
            <p:nvPr/>
          </p:nvSpPr>
          <p:spPr>
            <a:xfrm>
              <a:off x="1199127" y="612131"/>
              <a:ext cx="743972" cy="7254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325" name="Группа 324"/>
          <p:cNvGrpSpPr/>
          <p:nvPr/>
        </p:nvGrpSpPr>
        <p:grpSpPr>
          <a:xfrm>
            <a:off x="5490430" y="2276898"/>
            <a:ext cx="989916" cy="781688"/>
            <a:chOff x="5304136" y="2630250"/>
            <a:chExt cx="805351" cy="540227"/>
          </a:xfrm>
        </p:grpSpPr>
        <p:sp>
          <p:nvSpPr>
            <p:cNvPr id="326" name="Rectangle 47"/>
            <p:cNvSpPr>
              <a:spLocks noChangeArrowheads="1"/>
            </p:cNvSpPr>
            <p:nvPr/>
          </p:nvSpPr>
          <p:spPr bwMode="auto">
            <a:xfrm>
              <a:off x="5304136" y="2630250"/>
              <a:ext cx="696592" cy="540227"/>
            </a:xfrm>
            <a:prstGeom prst="rect">
              <a:avLst/>
            </a:prstGeom>
            <a:noFill/>
            <a:ln w="6350" cap="flat">
              <a:solidFill>
                <a:srgbClr val="3440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27" name="Freeform 48"/>
            <p:cNvSpPr>
              <a:spLocks/>
            </p:cNvSpPr>
            <p:nvPr/>
          </p:nvSpPr>
          <p:spPr bwMode="auto">
            <a:xfrm>
              <a:off x="5352199" y="2682158"/>
              <a:ext cx="609438" cy="0"/>
            </a:xfrm>
            <a:custGeom>
              <a:avLst/>
              <a:gdLst>
                <a:gd name="T0" fmla="*/ 0 w 951"/>
                <a:gd name="T1" fmla="*/ 951 w 951"/>
                <a:gd name="T2" fmla="*/ 0 w 951"/>
              </a:gdLst>
              <a:ahLst/>
              <a:cxnLst>
                <a:cxn ang="0">
                  <a:pos x="T0" y="0"/>
                </a:cxn>
                <a:cxn ang="0">
                  <a:pos x="T1" y="0"/>
                </a:cxn>
                <a:cxn ang="0">
                  <a:pos x="T2" y="0"/>
                </a:cxn>
              </a:cxnLst>
              <a:rect l="0" t="0" r="r" b="b"/>
              <a:pathLst>
                <a:path w="951">
                  <a:moveTo>
                    <a:pt x="0" y="0"/>
                  </a:moveTo>
                  <a:lnTo>
                    <a:pt x="951" y="0"/>
                  </a:lnTo>
                  <a:lnTo>
                    <a:pt x="0" y="0"/>
                  </a:lnTo>
                  <a:close/>
                </a:path>
              </a:pathLst>
            </a:custGeom>
            <a:noFill/>
            <a:ln w="3175">
              <a:solidFill>
                <a:srgbClr val="344051"/>
              </a:solidFill>
            </a:ln>
          </p:spPr>
          <p:txBody>
            <a:bodyPr vert="horz" wrap="square" lIns="91440" tIns="45720" rIns="91440" bIns="45720" numCol="1" anchor="t" anchorCtr="0" compatLnSpc="1">
              <a:prstTxWarp prst="textNoShape">
                <a:avLst/>
              </a:prstTxWarp>
            </a:bodyPr>
            <a:lstStyle/>
            <a:p>
              <a:endParaRPr lang="ru-RU"/>
            </a:p>
          </p:txBody>
        </p:sp>
        <p:sp>
          <p:nvSpPr>
            <p:cNvPr id="328" name="Line 49"/>
            <p:cNvSpPr>
              <a:spLocks noChangeShapeType="1"/>
            </p:cNvSpPr>
            <p:nvPr/>
          </p:nvSpPr>
          <p:spPr bwMode="auto">
            <a:xfrm>
              <a:off x="5352199" y="2682158"/>
              <a:ext cx="609438" cy="0"/>
            </a:xfrm>
            <a:prstGeom prst="line">
              <a:avLst/>
            </a:prstGeom>
            <a:noFill/>
            <a:ln w="3175"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29" name="Freeform 50"/>
            <p:cNvSpPr>
              <a:spLocks/>
            </p:cNvSpPr>
            <p:nvPr/>
          </p:nvSpPr>
          <p:spPr bwMode="auto">
            <a:xfrm>
              <a:off x="5352199" y="2768030"/>
              <a:ext cx="609438" cy="0"/>
            </a:xfrm>
            <a:custGeom>
              <a:avLst/>
              <a:gdLst>
                <a:gd name="T0" fmla="*/ 0 w 951"/>
                <a:gd name="T1" fmla="*/ 951 w 951"/>
                <a:gd name="T2" fmla="*/ 0 w 951"/>
              </a:gdLst>
              <a:ahLst/>
              <a:cxnLst>
                <a:cxn ang="0">
                  <a:pos x="T0" y="0"/>
                </a:cxn>
                <a:cxn ang="0">
                  <a:pos x="T1" y="0"/>
                </a:cxn>
                <a:cxn ang="0">
                  <a:pos x="T2" y="0"/>
                </a:cxn>
              </a:cxnLst>
              <a:rect l="0" t="0" r="r" b="b"/>
              <a:pathLst>
                <a:path w="951">
                  <a:moveTo>
                    <a:pt x="0" y="0"/>
                  </a:moveTo>
                  <a:lnTo>
                    <a:pt x="951" y="0"/>
                  </a:lnTo>
                  <a:lnTo>
                    <a:pt x="0" y="0"/>
                  </a:lnTo>
                  <a:close/>
                </a:path>
              </a:pathLst>
            </a:custGeom>
            <a:noFill/>
            <a:ln w="3175">
              <a:solidFill>
                <a:srgbClr val="344051"/>
              </a:solidFill>
            </a:ln>
          </p:spPr>
          <p:txBody>
            <a:bodyPr vert="horz" wrap="square" lIns="91440" tIns="45720" rIns="91440" bIns="45720" numCol="1" anchor="t" anchorCtr="0" compatLnSpc="1">
              <a:prstTxWarp prst="textNoShape">
                <a:avLst/>
              </a:prstTxWarp>
            </a:bodyPr>
            <a:lstStyle/>
            <a:p>
              <a:endParaRPr lang="ru-RU"/>
            </a:p>
          </p:txBody>
        </p:sp>
        <p:sp>
          <p:nvSpPr>
            <p:cNvPr id="330" name="Line 51"/>
            <p:cNvSpPr>
              <a:spLocks noChangeShapeType="1"/>
            </p:cNvSpPr>
            <p:nvPr/>
          </p:nvSpPr>
          <p:spPr bwMode="auto">
            <a:xfrm>
              <a:off x="5352199" y="2768030"/>
              <a:ext cx="609438" cy="0"/>
            </a:xfrm>
            <a:prstGeom prst="line">
              <a:avLst/>
            </a:prstGeom>
            <a:noFill/>
            <a:ln w="3175"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31" name="Freeform 52"/>
            <p:cNvSpPr>
              <a:spLocks/>
            </p:cNvSpPr>
            <p:nvPr/>
          </p:nvSpPr>
          <p:spPr bwMode="auto">
            <a:xfrm>
              <a:off x="5362452" y="2709073"/>
              <a:ext cx="81387" cy="0"/>
            </a:xfrm>
            <a:custGeom>
              <a:avLst/>
              <a:gdLst>
                <a:gd name="T0" fmla="*/ 0 w 127"/>
                <a:gd name="T1" fmla="*/ 127 w 127"/>
                <a:gd name="T2" fmla="*/ 0 w 127"/>
              </a:gdLst>
              <a:ahLst/>
              <a:cxnLst>
                <a:cxn ang="0">
                  <a:pos x="T0" y="0"/>
                </a:cxn>
                <a:cxn ang="0">
                  <a:pos x="T1" y="0"/>
                </a:cxn>
                <a:cxn ang="0">
                  <a:pos x="T2" y="0"/>
                </a:cxn>
              </a:cxnLst>
              <a:rect l="0" t="0" r="r" b="b"/>
              <a:pathLst>
                <a:path w="127">
                  <a:moveTo>
                    <a:pt x="0" y="0"/>
                  </a:moveTo>
                  <a:lnTo>
                    <a:pt x="127" y="0"/>
                  </a:lnTo>
                  <a:lnTo>
                    <a:pt x="0" y="0"/>
                  </a:lnTo>
                  <a:close/>
                </a:path>
              </a:pathLst>
            </a:custGeom>
            <a:noFill/>
            <a:ln w="3175">
              <a:solidFill>
                <a:srgbClr val="344051"/>
              </a:solidFill>
            </a:ln>
          </p:spPr>
          <p:txBody>
            <a:bodyPr vert="horz" wrap="square" lIns="91440" tIns="45720" rIns="91440" bIns="45720" numCol="1" anchor="t" anchorCtr="0" compatLnSpc="1">
              <a:prstTxWarp prst="textNoShape">
                <a:avLst/>
              </a:prstTxWarp>
            </a:bodyPr>
            <a:lstStyle/>
            <a:p>
              <a:endParaRPr lang="ru-RU"/>
            </a:p>
          </p:txBody>
        </p:sp>
        <p:sp>
          <p:nvSpPr>
            <p:cNvPr id="332" name="Line 53"/>
            <p:cNvSpPr>
              <a:spLocks noChangeShapeType="1"/>
            </p:cNvSpPr>
            <p:nvPr/>
          </p:nvSpPr>
          <p:spPr bwMode="auto">
            <a:xfrm>
              <a:off x="5362452" y="2709073"/>
              <a:ext cx="81387" cy="0"/>
            </a:xfrm>
            <a:prstGeom prst="line">
              <a:avLst/>
            </a:prstGeom>
            <a:noFill/>
            <a:ln w="3175"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33" name="Freeform 54"/>
            <p:cNvSpPr>
              <a:spLocks/>
            </p:cNvSpPr>
            <p:nvPr/>
          </p:nvSpPr>
          <p:spPr bwMode="auto">
            <a:xfrm>
              <a:off x="5362452" y="2732784"/>
              <a:ext cx="81387" cy="0"/>
            </a:xfrm>
            <a:custGeom>
              <a:avLst/>
              <a:gdLst>
                <a:gd name="T0" fmla="*/ 0 w 127"/>
                <a:gd name="T1" fmla="*/ 127 w 127"/>
                <a:gd name="T2" fmla="*/ 0 w 127"/>
              </a:gdLst>
              <a:ahLst/>
              <a:cxnLst>
                <a:cxn ang="0">
                  <a:pos x="T0" y="0"/>
                </a:cxn>
                <a:cxn ang="0">
                  <a:pos x="T1" y="0"/>
                </a:cxn>
                <a:cxn ang="0">
                  <a:pos x="T2" y="0"/>
                </a:cxn>
              </a:cxnLst>
              <a:rect l="0" t="0" r="r" b="b"/>
              <a:pathLst>
                <a:path w="127">
                  <a:moveTo>
                    <a:pt x="0" y="0"/>
                  </a:moveTo>
                  <a:lnTo>
                    <a:pt x="127" y="0"/>
                  </a:lnTo>
                  <a:lnTo>
                    <a:pt x="0" y="0"/>
                  </a:lnTo>
                  <a:close/>
                </a:path>
              </a:pathLst>
            </a:custGeom>
            <a:noFill/>
            <a:ln w="3175">
              <a:solidFill>
                <a:srgbClr val="344051"/>
              </a:solidFill>
            </a:ln>
          </p:spPr>
          <p:txBody>
            <a:bodyPr vert="horz" wrap="square" lIns="91440" tIns="45720" rIns="91440" bIns="45720" numCol="1" anchor="t" anchorCtr="0" compatLnSpc="1">
              <a:prstTxWarp prst="textNoShape">
                <a:avLst/>
              </a:prstTxWarp>
            </a:bodyPr>
            <a:lstStyle/>
            <a:p>
              <a:endParaRPr lang="ru-RU"/>
            </a:p>
          </p:txBody>
        </p:sp>
        <p:sp>
          <p:nvSpPr>
            <p:cNvPr id="334" name="Line 55"/>
            <p:cNvSpPr>
              <a:spLocks noChangeShapeType="1"/>
            </p:cNvSpPr>
            <p:nvPr/>
          </p:nvSpPr>
          <p:spPr bwMode="auto">
            <a:xfrm>
              <a:off x="5362452" y="2732784"/>
              <a:ext cx="81387" cy="0"/>
            </a:xfrm>
            <a:prstGeom prst="line">
              <a:avLst/>
            </a:prstGeom>
            <a:noFill/>
            <a:ln w="3175"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35" name="Freeform 56"/>
            <p:cNvSpPr>
              <a:spLocks/>
            </p:cNvSpPr>
            <p:nvPr/>
          </p:nvSpPr>
          <p:spPr bwMode="auto">
            <a:xfrm>
              <a:off x="5469472" y="2809685"/>
              <a:ext cx="155724" cy="0"/>
            </a:xfrm>
            <a:custGeom>
              <a:avLst/>
              <a:gdLst>
                <a:gd name="T0" fmla="*/ 0 w 243"/>
                <a:gd name="T1" fmla="*/ 243 w 243"/>
                <a:gd name="T2" fmla="*/ 0 w 243"/>
              </a:gdLst>
              <a:ahLst/>
              <a:cxnLst>
                <a:cxn ang="0">
                  <a:pos x="T0" y="0"/>
                </a:cxn>
                <a:cxn ang="0">
                  <a:pos x="T1" y="0"/>
                </a:cxn>
                <a:cxn ang="0">
                  <a:pos x="T2" y="0"/>
                </a:cxn>
              </a:cxnLst>
              <a:rect l="0" t="0" r="r" b="b"/>
              <a:pathLst>
                <a:path w="243">
                  <a:moveTo>
                    <a:pt x="0" y="0"/>
                  </a:moveTo>
                  <a:lnTo>
                    <a:pt x="243" y="0"/>
                  </a:lnTo>
                  <a:lnTo>
                    <a:pt x="0" y="0"/>
                  </a:lnTo>
                  <a:close/>
                </a:path>
              </a:pathLst>
            </a:custGeom>
            <a:noFill/>
            <a:ln w="6350">
              <a:solidFill>
                <a:srgbClr val="34405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36" name="Line 57"/>
            <p:cNvSpPr>
              <a:spLocks noChangeShapeType="1"/>
            </p:cNvSpPr>
            <p:nvPr/>
          </p:nvSpPr>
          <p:spPr bwMode="auto">
            <a:xfrm>
              <a:off x="5469472" y="2809685"/>
              <a:ext cx="155724" cy="0"/>
            </a:xfrm>
            <a:prstGeom prst="line">
              <a:avLst/>
            </a:prstGeom>
            <a:noFill/>
            <a:ln w="635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37" name="Freeform 58"/>
            <p:cNvSpPr>
              <a:spLocks/>
            </p:cNvSpPr>
            <p:nvPr/>
          </p:nvSpPr>
          <p:spPr bwMode="auto">
            <a:xfrm>
              <a:off x="5469472" y="2833396"/>
              <a:ext cx="155724" cy="0"/>
            </a:xfrm>
            <a:custGeom>
              <a:avLst/>
              <a:gdLst>
                <a:gd name="T0" fmla="*/ 0 w 243"/>
                <a:gd name="T1" fmla="*/ 243 w 243"/>
                <a:gd name="T2" fmla="*/ 0 w 243"/>
              </a:gdLst>
              <a:ahLst/>
              <a:cxnLst>
                <a:cxn ang="0">
                  <a:pos x="T0" y="0"/>
                </a:cxn>
                <a:cxn ang="0">
                  <a:pos x="T1" y="0"/>
                </a:cxn>
                <a:cxn ang="0">
                  <a:pos x="T2" y="0"/>
                </a:cxn>
              </a:cxnLst>
              <a:rect l="0" t="0" r="r" b="b"/>
              <a:pathLst>
                <a:path w="243">
                  <a:moveTo>
                    <a:pt x="0" y="0"/>
                  </a:moveTo>
                  <a:lnTo>
                    <a:pt x="243" y="0"/>
                  </a:lnTo>
                  <a:lnTo>
                    <a:pt x="0" y="0"/>
                  </a:lnTo>
                  <a:close/>
                </a:path>
              </a:pathLst>
            </a:custGeom>
            <a:noFill/>
            <a:ln w="6350">
              <a:solidFill>
                <a:srgbClr val="34405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38" name="Line 59"/>
            <p:cNvSpPr>
              <a:spLocks noChangeShapeType="1"/>
            </p:cNvSpPr>
            <p:nvPr/>
          </p:nvSpPr>
          <p:spPr bwMode="auto">
            <a:xfrm>
              <a:off x="5469472" y="2833396"/>
              <a:ext cx="155724" cy="0"/>
            </a:xfrm>
            <a:prstGeom prst="line">
              <a:avLst/>
            </a:prstGeom>
            <a:noFill/>
            <a:ln w="635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39" name="Freeform 60"/>
            <p:cNvSpPr>
              <a:spLocks/>
            </p:cNvSpPr>
            <p:nvPr/>
          </p:nvSpPr>
          <p:spPr bwMode="auto">
            <a:xfrm>
              <a:off x="5469472" y="2869283"/>
              <a:ext cx="164696" cy="0"/>
            </a:xfrm>
            <a:custGeom>
              <a:avLst/>
              <a:gdLst>
                <a:gd name="T0" fmla="*/ 0 w 257"/>
                <a:gd name="T1" fmla="*/ 257 w 257"/>
                <a:gd name="T2" fmla="*/ 0 w 257"/>
              </a:gdLst>
              <a:ahLst/>
              <a:cxnLst>
                <a:cxn ang="0">
                  <a:pos x="T0" y="0"/>
                </a:cxn>
                <a:cxn ang="0">
                  <a:pos x="T1" y="0"/>
                </a:cxn>
                <a:cxn ang="0">
                  <a:pos x="T2" y="0"/>
                </a:cxn>
              </a:cxnLst>
              <a:rect l="0" t="0" r="r" b="b"/>
              <a:pathLst>
                <a:path w="257">
                  <a:moveTo>
                    <a:pt x="0" y="0"/>
                  </a:moveTo>
                  <a:lnTo>
                    <a:pt x="257" y="0"/>
                  </a:lnTo>
                  <a:lnTo>
                    <a:pt x="0" y="0"/>
                  </a:lnTo>
                  <a:close/>
                </a:path>
              </a:pathLst>
            </a:custGeom>
            <a:noFill/>
            <a:ln w="6350">
              <a:solidFill>
                <a:srgbClr val="34405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40" name="Line 61"/>
            <p:cNvSpPr>
              <a:spLocks noChangeShapeType="1"/>
            </p:cNvSpPr>
            <p:nvPr/>
          </p:nvSpPr>
          <p:spPr bwMode="auto">
            <a:xfrm>
              <a:off x="5469472" y="2869283"/>
              <a:ext cx="164696" cy="0"/>
            </a:xfrm>
            <a:prstGeom prst="line">
              <a:avLst/>
            </a:prstGeom>
            <a:noFill/>
            <a:ln w="635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41" name="Rectangle 62"/>
            <p:cNvSpPr>
              <a:spLocks noChangeArrowheads="1"/>
            </p:cNvSpPr>
            <p:nvPr/>
          </p:nvSpPr>
          <p:spPr bwMode="auto">
            <a:xfrm>
              <a:off x="5352199" y="2800713"/>
              <a:ext cx="91640" cy="90999"/>
            </a:xfrm>
            <a:prstGeom prst="rect">
              <a:avLst/>
            </a:prstGeom>
            <a:solidFill>
              <a:schemeClr val="bg1"/>
            </a:solidFill>
            <a:ln>
              <a:solidFill>
                <a:srgbClr val="344051"/>
              </a:solidFill>
            </a:ln>
          </p:spPr>
          <p:txBody>
            <a:bodyPr vert="horz" wrap="square" lIns="91440" tIns="45720" rIns="91440" bIns="45720" numCol="1" anchor="t" anchorCtr="0" compatLnSpc="1">
              <a:prstTxWarp prst="textNoShape">
                <a:avLst/>
              </a:prstTxWarp>
            </a:bodyPr>
            <a:lstStyle/>
            <a:p>
              <a:endParaRPr lang="ru-RU"/>
            </a:p>
          </p:txBody>
        </p:sp>
        <p:sp>
          <p:nvSpPr>
            <p:cNvPr id="342" name="Freeform 63"/>
            <p:cNvSpPr>
              <a:spLocks/>
            </p:cNvSpPr>
            <p:nvPr/>
          </p:nvSpPr>
          <p:spPr bwMode="auto">
            <a:xfrm>
              <a:off x="5469472" y="2928881"/>
              <a:ext cx="155724" cy="0"/>
            </a:xfrm>
            <a:custGeom>
              <a:avLst/>
              <a:gdLst>
                <a:gd name="T0" fmla="*/ 0 w 243"/>
                <a:gd name="T1" fmla="*/ 243 w 243"/>
                <a:gd name="T2" fmla="*/ 0 w 243"/>
              </a:gdLst>
              <a:ahLst/>
              <a:cxnLst>
                <a:cxn ang="0">
                  <a:pos x="T0" y="0"/>
                </a:cxn>
                <a:cxn ang="0">
                  <a:pos x="T1" y="0"/>
                </a:cxn>
                <a:cxn ang="0">
                  <a:pos x="T2" y="0"/>
                </a:cxn>
              </a:cxnLst>
              <a:rect l="0" t="0" r="r" b="b"/>
              <a:pathLst>
                <a:path w="243">
                  <a:moveTo>
                    <a:pt x="0" y="0"/>
                  </a:moveTo>
                  <a:lnTo>
                    <a:pt x="243" y="0"/>
                  </a:lnTo>
                  <a:lnTo>
                    <a:pt x="0" y="0"/>
                  </a:lnTo>
                  <a:close/>
                </a:path>
              </a:pathLst>
            </a:custGeom>
            <a:noFill/>
            <a:ln w="6350">
              <a:solidFill>
                <a:srgbClr val="34405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43" name="Line 64"/>
            <p:cNvSpPr>
              <a:spLocks noChangeShapeType="1"/>
            </p:cNvSpPr>
            <p:nvPr/>
          </p:nvSpPr>
          <p:spPr bwMode="auto">
            <a:xfrm>
              <a:off x="5469472" y="2928881"/>
              <a:ext cx="155724" cy="0"/>
            </a:xfrm>
            <a:prstGeom prst="line">
              <a:avLst/>
            </a:prstGeom>
            <a:noFill/>
            <a:ln w="635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44" name="Freeform 65"/>
            <p:cNvSpPr>
              <a:spLocks/>
            </p:cNvSpPr>
            <p:nvPr/>
          </p:nvSpPr>
          <p:spPr bwMode="auto">
            <a:xfrm>
              <a:off x="5469472" y="2952592"/>
              <a:ext cx="155724" cy="0"/>
            </a:xfrm>
            <a:custGeom>
              <a:avLst/>
              <a:gdLst>
                <a:gd name="T0" fmla="*/ 0 w 243"/>
                <a:gd name="T1" fmla="*/ 243 w 243"/>
                <a:gd name="T2" fmla="*/ 0 w 243"/>
              </a:gdLst>
              <a:ahLst/>
              <a:cxnLst>
                <a:cxn ang="0">
                  <a:pos x="T0" y="0"/>
                </a:cxn>
                <a:cxn ang="0">
                  <a:pos x="T1" y="0"/>
                </a:cxn>
                <a:cxn ang="0">
                  <a:pos x="T2" y="0"/>
                </a:cxn>
              </a:cxnLst>
              <a:rect l="0" t="0" r="r" b="b"/>
              <a:pathLst>
                <a:path w="243">
                  <a:moveTo>
                    <a:pt x="0" y="0"/>
                  </a:moveTo>
                  <a:lnTo>
                    <a:pt x="243" y="0"/>
                  </a:lnTo>
                  <a:lnTo>
                    <a:pt x="0" y="0"/>
                  </a:lnTo>
                  <a:close/>
                </a:path>
              </a:pathLst>
            </a:custGeom>
            <a:noFill/>
            <a:ln w="6350">
              <a:solidFill>
                <a:srgbClr val="34405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45" name="Line 66"/>
            <p:cNvSpPr>
              <a:spLocks noChangeShapeType="1"/>
            </p:cNvSpPr>
            <p:nvPr/>
          </p:nvSpPr>
          <p:spPr bwMode="auto">
            <a:xfrm>
              <a:off x="5469472" y="2952592"/>
              <a:ext cx="155724" cy="0"/>
            </a:xfrm>
            <a:prstGeom prst="line">
              <a:avLst/>
            </a:prstGeom>
            <a:noFill/>
            <a:ln w="635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46" name="Freeform 67"/>
            <p:cNvSpPr>
              <a:spLocks/>
            </p:cNvSpPr>
            <p:nvPr/>
          </p:nvSpPr>
          <p:spPr bwMode="auto">
            <a:xfrm>
              <a:off x="5469472" y="2989120"/>
              <a:ext cx="164696" cy="0"/>
            </a:xfrm>
            <a:custGeom>
              <a:avLst/>
              <a:gdLst>
                <a:gd name="T0" fmla="*/ 0 w 257"/>
                <a:gd name="T1" fmla="*/ 257 w 257"/>
                <a:gd name="T2" fmla="*/ 0 w 257"/>
              </a:gdLst>
              <a:ahLst/>
              <a:cxnLst>
                <a:cxn ang="0">
                  <a:pos x="T0" y="0"/>
                </a:cxn>
                <a:cxn ang="0">
                  <a:pos x="T1" y="0"/>
                </a:cxn>
                <a:cxn ang="0">
                  <a:pos x="T2" y="0"/>
                </a:cxn>
              </a:cxnLst>
              <a:rect l="0" t="0" r="r" b="b"/>
              <a:pathLst>
                <a:path w="257">
                  <a:moveTo>
                    <a:pt x="0" y="0"/>
                  </a:moveTo>
                  <a:lnTo>
                    <a:pt x="257" y="0"/>
                  </a:lnTo>
                  <a:lnTo>
                    <a:pt x="0" y="0"/>
                  </a:lnTo>
                  <a:close/>
                </a:path>
              </a:pathLst>
            </a:custGeom>
            <a:noFill/>
            <a:ln w="6350">
              <a:solidFill>
                <a:srgbClr val="34405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47" name="Line 68"/>
            <p:cNvSpPr>
              <a:spLocks noChangeShapeType="1"/>
            </p:cNvSpPr>
            <p:nvPr/>
          </p:nvSpPr>
          <p:spPr bwMode="auto">
            <a:xfrm>
              <a:off x="5469472" y="2989120"/>
              <a:ext cx="164696" cy="0"/>
            </a:xfrm>
            <a:prstGeom prst="line">
              <a:avLst/>
            </a:prstGeom>
            <a:noFill/>
            <a:ln w="635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48" name="Rectangle 69"/>
            <p:cNvSpPr>
              <a:spLocks noChangeArrowheads="1"/>
            </p:cNvSpPr>
            <p:nvPr/>
          </p:nvSpPr>
          <p:spPr bwMode="auto">
            <a:xfrm>
              <a:off x="5352199" y="2919909"/>
              <a:ext cx="91640" cy="92922"/>
            </a:xfrm>
            <a:prstGeom prst="rect">
              <a:avLst/>
            </a:prstGeom>
            <a:solidFill>
              <a:schemeClr val="bg1"/>
            </a:solidFill>
            <a:ln>
              <a:solidFill>
                <a:srgbClr val="344051"/>
              </a:solidFill>
            </a:ln>
          </p:spPr>
          <p:txBody>
            <a:bodyPr vert="horz" wrap="square" lIns="91440" tIns="45720" rIns="91440" bIns="45720" numCol="1" anchor="t" anchorCtr="0" compatLnSpc="1">
              <a:prstTxWarp prst="textNoShape">
                <a:avLst/>
              </a:prstTxWarp>
            </a:bodyPr>
            <a:lstStyle/>
            <a:p>
              <a:endParaRPr lang="ru-RU"/>
            </a:p>
          </p:txBody>
        </p:sp>
        <p:sp>
          <p:nvSpPr>
            <p:cNvPr id="349" name="Freeform 70"/>
            <p:cNvSpPr>
              <a:spLocks/>
            </p:cNvSpPr>
            <p:nvPr/>
          </p:nvSpPr>
          <p:spPr bwMode="auto">
            <a:xfrm>
              <a:off x="5469472" y="3048717"/>
              <a:ext cx="155724" cy="0"/>
            </a:xfrm>
            <a:custGeom>
              <a:avLst/>
              <a:gdLst>
                <a:gd name="T0" fmla="*/ 0 w 243"/>
                <a:gd name="T1" fmla="*/ 243 w 243"/>
                <a:gd name="T2" fmla="*/ 0 w 243"/>
              </a:gdLst>
              <a:ahLst/>
              <a:cxnLst>
                <a:cxn ang="0">
                  <a:pos x="T0" y="0"/>
                </a:cxn>
                <a:cxn ang="0">
                  <a:pos x="T1" y="0"/>
                </a:cxn>
                <a:cxn ang="0">
                  <a:pos x="T2" y="0"/>
                </a:cxn>
              </a:cxnLst>
              <a:rect l="0" t="0" r="r" b="b"/>
              <a:pathLst>
                <a:path w="243">
                  <a:moveTo>
                    <a:pt x="0" y="0"/>
                  </a:moveTo>
                  <a:lnTo>
                    <a:pt x="243" y="0"/>
                  </a:lnTo>
                  <a:lnTo>
                    <a:pt x="0" y="0"/>
                  </a:lnTo>
                  <a:close/>
                </a:path>
              </a:pathLst>
            </a:custGeom>
            <a:noFill/>
            <a:ln w="6350">
              <a:solidFill>
                <a:srgbClr val="34405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50" name="Line 71"/>
            <p:cNvSpPr>
              <a:spLocks noChangeShapeType="1"/>
            </p:cNvSpPr>
            <p:nvPr/>
          </p:nvSpPr>
          <p:spPr bwMode="auto">
            <a:xfrm>
              <a:off x="5469472" y="3048717"/>
              <a:ext cx="155724" cy="0"/>
            </a:xfrm>
            <a:prstGeom prst="line">
              <a:avLst/>
            </a:prstGeom>
            <a:noFill/>
            <a:ln w="635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51" name="Freeform 72"/>
            <p:cNvSpPr>
              <a:spLocks/>
            </p:cNvSpPr>
            <p:nvPr/>
          </p:nvSpPr>
          <p:spPr bwMode="auto">
            <a:xfrm>
              <a:off x="5469472" y="3073710"/>
              <a:ext cx="155724" cy="0"/>
            </a:xfrm>
            <a:custGeom>
              <a:avLst/>
              <a:gdLst>
                <a:gd name="T0" fmla="*/ 0 w 243"/>
                <a:gd name="T1" fmla="*/ 243 w 243"/>
                <a:gd name="T2" fmla="*/ 0 w 243"/>
              </a:gdLst>
              <a:ahLst/>
              <a:cxnLst>
                <a:cxn ang="0">
                  <a:pos x="T0" y="0"/>
                </a:cxn>
                <a:cxn ang="0">
                  <a:pos x="T1" y="0"/>
                </a:cxn>
                <a:cxn ang="0">
                  <a:pos x="T2" y="0"/>
                </a:cxn>
              </a:cxnLst>
              <a:rect l="0" t="0" r="r" b="b"/>
              <a:pathLst>
                <a:path w="243">
                  <a:moveTo>
                    <a:pt x="0" y="0"/>
                  </a:moveTo>
                  <a:lnTo>
                    <a:pt x="243" y="0"/>
                  </a:lnTo>
                  <a:lnTo>
                    <a:pt x="0" y="0"/>
                  </a:lnTo>
                  <a:close/>
                </a:path>
              </a:pathLst>
            </a:custGeom>
            <a:noFill/>
            <a:ln w="6350">
              <a:solidFill>
                <a:srgbClr val="34405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52" name="Line 73"/>
            <p:cNvSpPr>
              <a:spLocks noChangeShapeType="1"/>
            </p:cNvSpPr>
            <p:nvPr/>
          </p:nvSpPr>
          <p:spPr bwMode="auto">
            <a:xfrm>
              <a:off x="5469472" y="3073710"/>
              <a:ext cx="155724" cy="0"/>
            </a:xfrm>
            <a:prstGeom prst="line">
              <a:avLst/>
            </a:prstGeom>
            <a:noFill/>
            <a:ln w="635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53" name="Freeform 74"/>
            <p:cNvSpPr>
              <a:spLocks/>
            </p:cNvSpPr>
            <p:nvPr/>
          </p:nvSpPr>
          <p:spPr bwMode="auto">
            <a:xfrm>
              <a:off x="5469472" y="3109597"/>
              <a:ext cx="164696" cy="0"/>
            </a:xfrm>
            <a:custGeom>
              <a:avLst/>
              <a:gdLst>
                <a:gd name="T0" fmla="*/ 0 w 257"/>
                <a:gd name="T1" fmla="*/ 257 w 257"/>
                <a:gd name="T2" fmla="*/ 0 w 257"/>
              </a:gdLst>
              <a:ahLst/>
              <a:cxnLst>
                <a:cxn ang="0">
                  <a:pos x="T0" y="0"/>
                </a:cxn>
                <a:cxn ang="0">
                  <a:pos x="T1" y="0"/>
                </a:cxn>
                <a:cxn ang="0">
                  <a:pos x="T2" y="0"/>
                </a:cxn>
              </a:cxnLst>
              <a:rect l="0" t="0" r="r" b="b"/>
              <a:pathLst>
                <a:path w="257">
                  <a:moveTo>
                    <a:pt x="0" y="0"/>
                  </a:moveTo>
                  <a:lnTo>
                    <a:pt x="257" y="0"/>
                  </a:lnTo>
                  <a:lnTo>
                    <a:pt x="0" y="0"/>
                  </a:lnTo>
                  <a:close/>
                </a:path>
              </a:pathLst>
            </a:custGeom>
            <a:noFill/>
            <a:ln w="6350">
              <a:solidFill>
                <a:srgbClr val="344051"/>
              </a:solid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354" name="Line 75"/>
            <p:cNvSpPr>
              <a:spLocks noChangeShapeType="1"/>
            </p:cNvSpPr>
            <p:nvPr/>
          </p:nvSpPr>
          <p:spPr bwMode="auto">
            <a:xfrm>
              <a:off x="5469472" y="3109597"/>
              <a:ext cx="164696" cy="0"/>
            </a:xfrm>
            <a:prstGeom prst="line">
              <a:avLst/>
            </a:prstGeom>
            <a:noFill/>
            <a:ln w="635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55" name="Rectangle 76"/>
            <p:cNvSpPr>
              <a:spLocks noChangeArrowheads="1"/>
            </p:cNvSpPr>
            <p:nvPr/>
          </p:nvSpPr>
          <p:spPr bwMode="auto">
            <a:xfrm>
              <a:off x="5352199" y="3041027"/>
              <a:ext cx="91640" cy="90999"/>
            </a:xfrm>
            <a:prstGeom prst="rect">
              <a:avLst/>
            </a:prstGeom>
            <a:solidFill>
              <a:schemeClr val="bg1"/>
            </a:solidFill>
            <a:ln>
              <a:solidFill>
                <a:srgbClr val="344051"/>
              </a:solidFill>
            </a:ln>
          </p:spPr>
          <p:txBody>
            <a:bodyPr vert="horz" wrap="square" lIns="91440" tIns="45720" rIns="91440" bIns="45720" numCol="1" anchor="t" anchorCtr="0" compatLnSpc="1">
              <a:prstTxWarp prst="textNoShape">
                <a:avLst/>
              </a:prstTxWarp>
            </a:bodyPr>
            <a:lstStyle/>
            <a:p>
              <a:endParaRPr lang="ru-RU"/>
            </a:p>
          </p:txBody>
        </p:sp>
        <p:sp>
          <p:nvSpPr>
            <p:cNvPr id="356" name="Rectangle 77"/>
            <p:cNvSpPr>
              <a:spLocks noChangeArrowheads="1"/>
            </p:cNvSpPr>
            <p:nvPr/>
          </p:nvSpPr>
          <p:spPr bwMode="auto">
            <a:xfrm>
              <a:off x="5729012" y="2885304"/>
              <a:ext cx="93562" cy="84591"/>
            </a:xfrm>
            <a:prstGeom prst="rect">
              <a:avLst/>
            </a:prstGeom>
            <a:solidFill>
              <a:srgbClr val="FFFFFF"/>
            </a:solidFill>
            <a:ln w="9525">
              <a:solidFill>
                <a:srgbClr val="344051"/>
              </a:solidFill>
              <a:miter lim="800000"/>
              <a:headEnd/>
              <a:tailEnd/>
            </a:ln>
            <a:extLst/>
          </p:spPr>
          <p:txBody>
            <a:bodyPr vert="horz" wrap="square" lIns="91440" tIns="45720" rIns="91440" bIns="45720" numCol="1" anchor="t" anchorCtr="0" compatLnSpc="1">
              <a:prstTxWarp prst="textNoShape">
                <a:avLst/>
              </a:prstTxWarp>
            </a:bodyPr>
            <a:lstStyle/>
            <a:p>
              <a:endParaRPr lang="ru-RU"/>
            </a:p>
          </p:txBody>
        </p:sp>
        <p:sp>
          <p:nvSpPr>
            <p:cNvPr id="357" name="Rectangle 78"/>
            <p:cNvSpPr>
              <a:spLocks noChangeArrowheads="1"/>
            </p:cNvSpPr>
            <p:nvPr/>
          </p:nvSpPr>
          <p:spPr bwMode="auto">
            <a:xfrm>
              <a:off x="5729012" y="2885304"/>
              <a:ext cx="93562" cy="84591"/>
            </a:xfrm>
            <a:prstGeom prst="rect">
              <a:avLst/>
            </a:prstGeom>
            <a:noFill/>
            <a:ln w="6350" cap="flat">
              <a:solidFill>
                <a:srgbClr val="3440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58" name="Freeform 79"/>
            <p:cNvSpPr>
              <a:spLocks/>
            </p:cNvSpPr>
            <p:nvPr/>
          </p:nvSpPr>
          <p:spPr bwMode="auto">
            <a:xfrm>
              <a:off x="5711068" y="2846853"/>
              <a:ext cx="128809" cy="42936"/>
            </a:xfrm>
            <a:custGeom>
              <a:avLst/>
              <a:gdLst>
                <a:gd name="T0" fmla="*/ 201 w 201"/>
                <a:gd name="T1" fmla="*/ 67 h 67"/>
                <a:gd name="T2" fmla="*/ 0 w 201"/>
                <a:gd name="T3" fmla="*/ 67 h 67"/>
                <a:gd name="T4" fmla="*/ 35 w 201"/>
                <a:gd name="T5" fmla="*/ 0 h 67"/>
                <a:gd name="T6" fmla="*/ 165 w 201"/>
                <a:gd name="T7" fmla="*/ 0 h 67"/>
                <a:gd name="T8" fmla="*/ 201 w 201"/>
                <a:gd name="T9" fmla="*/ 67 h 67"/>
              </a:gdLst>
              <a:ahLst/>
              <a:cxnLst>
                <a:cxn ang="0">
                  <a:pos x="T0" y="T1"/>
                </a:cxn>
                <a:cxn ang="0">
                  <a:pos x="T2" y="T3"/>
                </a:cxn>
                <a:cxn ang="0">
                  <a:pos x="T4" y="T5"/>
                </a:cxn>
                <a:cxn ang="0">
                  <a:pos x="T6" y="T7"/>
                </a:cxn>
                <a:cxn ang="0">
                  <a:pos x="T8" y="T9"/>
                </a:cxn>
              </a:cxnLst>
              <a:rect l="0" t="0" r="r" b="b"/>
              <a:pathLst>
                <a:path w="201" h="67">
                  <a:moveTo>
                    <a:pt x="201" y="67"/>
                  </a:moveTo>
                  <a:lnTo>
                    <a:pt x="0" y="67"/>
                  </a:lnTo>
                  <a:lnTo>
                    <a:pt x="35" y="0"/>
                  </a:lnTo>
                  <a:lnTo>
                    <a:pt x="165" y="0"/>
                  </a:lnTo>
                  <a:lnTo>
                    <a:pt x="201" y="67"/>
                  </a:lnTo>
                  <a:close/>
                </a:path>
              </a:pathLst>
            </a:custGeom>
            <a:solidFill>
              <a:srgbClr val="4C4847"/>
            </a:solidFill>
            <a:ln>
              <a:solidFill>
                <a:srgbClr val="344051"/>
              </a:solidFill>
            </a:ln>
          </p:spPr>
          <p:txBody>
            <a:bodyPr vert="horz" wrap="square" lIns="91440" tIns="45720" rIns="91440" bIns="45720" numCol="1" anchor="t" anchorCtr="0" compatLnSpc="1">
              <a:prstTxWarp prst="textNoShape">
                <a:avLst/>
              </a:prstTxWarp>
            </a:bodyPr>
            <a:lstStyle/>
            <a:p>
              <a:endParaRPr lang="ru-RU"/>
            </a:p>
          </p:txBody>
        </p:sp>
        <p:sp>
          <p:nvSpPr>
            <p:cNvPr id="359" name="Freeform 80"/>
            <p:cNvSpPr>
              <a:spLocks/>
            </p:cNvSpPr>
            <p:nvPr/>
          </p:nvSpPr>
          <p:spPr bwMode="auto">
            <a:xfrm>
              <a:off x="5711068" y="2846853"/>
              <a:ext cx="128809" cy="42936"/>
            </a:xfrm>
            <a:custGeom>
              <a:avLst/>
              <a:gdLst>
                <a:gd name="T0" fmla="*/ 201 w 201"/>
                <a:gd name="T1" fmla="*/ 67 h 67"/>
                <a:gd name="T2" fmla="*/ 0 w 201"/>
                <a:gd name="T3" fmla="*/ 67 h 67"/>
                <a:gd name="T4" fmla="*/ 35 w 201"/>
                <a:gd name="T5" fmla="*/ 0 h 67"/>
                <a:gd name="T6" fmla="*/ 165 w 201"/>
                <a:gd name="T7" fmla="*/ 0 h 67"/>
                <a:gd name="T8" fmla="*/ 201 w 201"/>
                <a:gd name="T9" fmla="*/ 67 h 67"/>
              </a:gdLst>
              <a:ahLst/>
              <a:cxnLst>
                <a:cxn ang="0">
                  <a:pos x="T0" y="T1"/>
                </a:cxn>
                <a:cxn ang="0">
                  <a:pos x="T2" y="T3"/>
                </a:cxn>
                <a:cxn ang="0">
                  <a:pos x="T4" y="T5"/>
                </a:cxn>
                <a:cxn ang="0">
                  <a:pos x="T6" y="T7"/>
                </a:cxn>
                <a:cxn ang="0">
                  <a:pos x="T8" y="T9"/>
                </a:cxn>
              </a:cxnLst>
              <a:rect l="0" t="0" r="r" b="b"/>
              <a:pathLst>
                <a:path w="201" h="67">
                  <a:moveTo>
                    <a:pt x="201" y="67"/>
                  </a:moveTo>
                  <a:lnTo>
                    <a:pt x="0" y="67"/>
                  </a:lnTo>
                  <a:lnTo>
                    <a:pt x="35" y="0"/>
                  </a:lnTo>
                  <a:lnTo>
                    <a:pt x="165" y="0"/>
                  </a:lnTo>
                  <a:lnTo>
                    <a:pt x="201" y="67"/>
                  </a:lnTo>
                  <a:close/>
                </a:path>
              </a:pathLst>
            </a:custGeom>
            <a:noFill/>
            <a:ln w="6350" cap="flat">
              <a:solidFill>
                <a:srgbClr val="3440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60" name="Oval 81"/>
            <p:cNvSpPr>
              <a:spLocks noChangeArrowheads="1"/>
            </p:cNvSpPr>
            <p:nvPr/>
          </p:nvSpPr>
          <p:spPr bwMode="auto">
            <a:xfrm>
              <a:off x="5634168" y="2802281"/>
              <a:ext cx="250568" cy="250568"/>
            </a:xfrm>
            <a:prstGeom prst="ellipse">
              <a:avLst/>
            </a:prstGeom>
            <a:noFill/>
            <a:ln w="6350" cap="flat">
              <a:solidFill>
                <a:srgbClr val="3440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61" name="Line 82"/>
            <p:cNvSpPr>
              <a:spLocks noChangeShapeType="1"/>
            </p:cNvSpPr>
            <p:nvPr/>
          </p:nvSpPr>
          <p:spPr bwMode="auto">
            <a:xfrm>
              <a:off x="5883271" y="2927052"/>
              <a:ext cx="80746" cy="0"/>
            </a:xfrm>
            <a:prstGeom prst="line">
              <a:avLst/>
            </a:prstGeom>
            <a:noFill/>
            <a:ln w="25400" cap="flat">
              <a:solidFill>
                <a:srgbClr val="344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62" name="Freeform 83"/>
            <p:cNvSpPr>
              <a:spLocks/>
            </p:cNvSpPr>
            <p:nvPr/>
          </p:nvSpPr>
          <p:spPr bwMode="auto">
            <a:xfrm>
              <a:off x="5944151" y="2887320"/>
              <a:ext cx="165336" cy="66647"/>
            </a:xfrm>
            <a:custGeom>
              <a:avLst/>
              <a:gdLst>
                <a:gd name="T0" fmla="*/ 21 w 147"/>
                <a:gd name="T1" fmla="*/ 59 h 59"/>
                <a:gd name="T2" fmla="*/ 126 w 147"/>
                <a:gd name="T3" fmla="*/ 59 h 59"/>
                <a:gd name="T4" fmla="*/ 147 w 147"/>
                <a:gd name="T5" fmla="*/ 39 h 59"/>
                <a:gd name="T6" fmla="*/ 147 w 147"/>
                <a:gd name="T7" fmla="*/ 20 h 59"/>
                <a:gd name="T8" fmla="*/ 126 w 147"/>
                <a:gd name="T9" fmla="*/ 0 h 59"/>
                <a:gd name="T10" fmla="*/ 21 w 147"/>
                <a:gd name="T11" fmla="*/ 0 h 59"/>
                <a:gd name="T12" fmla="*/ 0 w 147"/>
                <a:gd name="T13" fmla="*/ 20 h 59"/>
                <a:gd name="T14" fmla="*/ 0 w 147"/>
                <a:gd name="T15" fmla="*/ 39 h 59"/>
                <a:gd name="T16" fmla="*/ 21 w 147"/>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59">
                  <a:moveTo>
                    <a:pt x="21" y="59"/>
                  </a:moveTo>
                  <a:cubicBezTo>
                    <a:pt x="126" y="59"/>
                    <a:pt x="126" y="59"/>
                    <a:pt x="126" y="59"/>
                  </a:cubicBezTo>
                  <a:cubicBezTo>
                    <a:pt x="138" y="59"/>
                    <a:pt x="147" y="50"/>
                    <a:pt x="147" y="39"/>
                  </a:cubicBezTo>
                  <a:cubicBezTo>
                    <a:pt x="147" y="20"/>
                    <a:pt x="147" y="20"/>
                    <a:pt x="147" y="20"/>
                  </a:cubicBezTo>
                  <a:cubicBezTo>
                    <a:pt x="147" y="9"/>
                    <a:pt x="138" y="0"/>
                    <a:pt x="126" y="0"/>
                  </a:cubicBezTo>
                  <a:cubicBezTo>
                    <a:pt x="21" y="0"/>
                    <a:pt x="21" y="0"/>
                    <a:pt x="21" y="0"/>
                  </a:cubicBezTo>
                  <a:cubicBezTo>
                    <a:pt x="10" y="0"/>
                    <a:pt x="0" y="9"/>
                    <a:pt x="0" y="20"/>
                  </a:cubicBezTo>
                  <a:cubicBezTo>
                    <a:pt x="0" y="39"/>
                    <a:pt x="0" y="39"/>
                    <a:pt x="0" y="39"/>
                  </a:cubicBezTo>
                  <a:cubicBezTo>
                    <a:pt x="0" y="50"/>
                    <a:pt x="10" y="59"/>
                    <a:pt x="21" y="59"/>
                  </a:cubicBezTo>
                  <a:close/>
                </a:path>
              </a:pathLst>
            </a:custGeom>
            <a:solidFill>
              <a:srgbClr val="4C4847"/>
            </a:solidFill>
            <a:ln w="6350" cap="flat">
              <a:solidFill>
                <a:srgbClr val="344051"/>
              </a:solidFill>
              <a:prstDash val="solid"/>
              <a:miter lim="800000"/>
              <a:headEnd/>
              <a:tailEnd/>
            </a:ln>
          </p:spPr>
          <p:txBody>
            <a:bodyPr vert="horz" wrap="square" lIns="91440" tIns="45720" rIns="91440" bIns="45720" numCol="1" anchor="t" anchorCtr="0" compatLnSpc="1">
              <a:prstTxWarp prst="textNoShape">
                <a:avLst/>
              </a:prstTxWarp>
            </a:bodyPr>
            <a:lstStyle/>
            <a:p>
              <a:endParaRPr lang="ru-RU"/>
            </a:p>
          </p:txBody>
        </p:sp>
      </p:grpSp>
      <p:sp>
        <p:nvSpPr>
          <p:cNvPr id="364" name="Дуга 363"/>
          <p:cNvSpPr/>
          <p:nvPr/>
        </p:nvSpPr>
        <p:spPr>
          <a:xfrm rot="2645407">
            <a:off x="4919783" y="1875523"/>
            <a:ext cx="2035834" cy="2087716"/>
          </a:xfrm>
          <a:prstGeom prst="arc">
            <a:avLst>
              <a:gd name="adj1" fmla="val 13670373"/>
              <a:gd name="adj2" fmla="val 7145145"/>
            </a:avLst>
          </a:prstGeom>
          <a:ln w="38100">
            <a:solidFill>
              <a:srgbClr val="EF562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365" name="Дуга 364"/>
          <p:cNvSpPr/>
          <p:nvPr/>
        </p:nvSpPr>
        <p:spPr>
          <a:xfrm rot="10033438">
            <a:off x="163967" y="488674"/>
            <a:ext cx="2035834" cy="2087716"/>
          </a:xfrm>
          <a:prstGeom prst="arc">
            <a:avLst>
              <a:gd name="adj1" fmla="val 13670373"/>
              <a:gd name="adj2" fmla="val 7145145"/>
            </a:avLst>
          </a:prstGeom>
          <a:ln w="38100">
            <a:solidFill>
              <a:srgbClr val="EF562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366" name="Прямоугольник 365"/>
          <p:cNvSpPr/>
          <p:nvPr/>
        </p:nvSpPr>
        <p:spPr>
          <a:xfrm>
            <a:off x="319122" y="2622659"/>
            <a:ext cx="2342573" cy="925894"/>
          </a:xfrm>
          <a:prstGeom prst="rect">
            <a:avLst/>
          </a:prstGeom>
        </p:spPr>
        <p:txBody>
          <a:bodyPr wrap="square">
            <a:spAutoFit/>
          </a:bodyPr>
          <a:lstStyle/>
          <a:p>
            <a:pPr algn="ctr">
              <a:lnSpc>
                <a:spcPts val="1300"/>
              </a:lnSpc>
            </a:pPr>
            <a:r>
              <a:rPr lang="kk-KZ" sz="1200" dirty="0" smtClean="0">
                <a:latin typeface="Times New Roman" pitchFamily="18" charset="0"/>
                <a:cs typeface="Times New Roman" pitchFamily="18" charset="0"/>
              </a:rPr>
              <a:t> Қаражаттын түсуін мониторингілеу және осы ақшаны мақсатты жұмсау мүмкіндігіне ие болып,  қаражатты жинай алады</a:t>
            </a:r>
            <a:endParaRPr lang="ru-RU" sz="1200" dirty="0">
              <a:latin typeface="Times New Roman" pitchFamily="18" charset="0"/>
              <a:cs typeface="Times New Roman" pitchFamily="18" charset="0"/>
            </a:endParaRPr>
          </a:p>
        </p:txBody>
      </p:sp>
      <p:sp>
        <p:nvSpPr>
          <p:cNvPr id="369" name="Выгнутая вниз стрелка 368"/>
          <p:cNvSpPr/>
          <p:nvPr/>
        </p:nvSpPr>
        <p:spPr>
          <a:xfrm rot="1187526">
            <a:off x="1905296" y="2141260"/>
            <a:ext cx="2522450" cy="824358"/>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371" name="Прямоугольник 370"/>
          <p:cNvSpPr/>
          <p:nvPr/>
        </p:nvSpPr>
        <p:spPr>
          <a:xfrm>
            <a:off x="7030692" y="811024"/>
            <a:ext cx="2027583" cy="2842262"/>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2" name="Прямоугольник 371"/>
          <p:cNvSpPr/>
          <p:nvPr/>
        </p:nvSpPr>
        <p:spPr>
          <a:xfrm>
            <a:off x="7072996" y="893556"/>
            <a:ext cx="1975754" cy="2259593"/>
          </a:xfrm>
          <a:prstGeom prst="rect">
            <a:avLst/>
          </a:prstGeom>
        </p:spPr>
        <p:txBody>
          <a:bodyPr wrap="square">
            <a:spAutoFit/>
          </a:bodyPr>
          <a:lstStyle/>
          <a:p>
            <a:pPr algn="just">
              <a:lnSpc>
                <a:spcPts val="1300"/>
              </a:lnSpc>
            </a:pPr>
            <a:r>
              <a:rPr lang="kk-KZ" sz="1000" dirty="0"/>
              <a:t>Күрделі жөндеу жүргізу үшін МИБ қарыз алуға болады:</a:t>
            </a:r>
            <a:endParaRPr lang="ru-RU" sz="1000" dirty="0"/>
          </a:p>
          <a:p>
            <a:pPr algn="just">
              <a:lnSpc>
                <a:spcPts val="1300"/>
              </a:lnSpc>
            </a:pPr>
            <a:r>
              <a:rPr lang="kk-KZ" sz="1000" dirty="0" smtClean="0"/>
              <a:t>       - </a:t>
            </a:r>
            <a:r>
              <a:rPr lang="kk-KZ" sz="1000" dirty="0"/>
              <a:t>тұрғын үй инспекциясының үйдің техникалық жай-күйі жөндеуді талап етеді деген қорытындысы болған жағдайда. </a:t>
            </a:r>
            <a:r>
              <a:rPr lang="kk-KZ" sz="1000" dirty="0" smtClean="0"/>
              <a:t>Бұл ретте, </a:t>
            </a:r>
            <a:r>
              <a:rPr lang="kk-KZ" sz="1000" dirty="0"/>
              <a:t>несиелік келісімге МИБ-тің уәкілетті тұлғасы көп пәтерлі тұрғын үйдің барлық меншік иелерінің келісімімен қол қояды</a:t>
            </a:r>
            <a:r>
              <a:rPr lang="kk-KZ" sz="1000" dirty="0" smtClean="0"/>
              <a:t>;</a:t>
            </a:r>
          </a:p>
          <a:p>
            <a:pPr algn="just">
              <a:lnSpc>
                <a:spcPts val="1300"/>
              </a:lnSpc>
            </a:pPr>
            <a:r>
              <a:rPr lang="ru-RU" sz="1000" dirty="0" smtClean="0">
                <a:latin typeface="Times New Roman" pitchFamily="18" charset="0"/>
                <a:cs typeface="Times New Roman" pitchFamily="18" charset="0"/>
              </a:rPr>
              <a:t>        - </a:t>
            </a:r>
            <a:r>
              <a:rPr lang="kk-KZ" sz="1000" dirty="0"/>
              <a:t>күрделі жөндеуге 50% қаражат жинаған жағдайда</a:t>
            </a:r>
            <a:r>
              <a:rPr lang="kk-KZ" sz="1000" dirty="0" smtClean="0"/>
              <a:t>.</a:t>
            </a:r>
            <a:endParaRPr lang="ru-RU" sz="1000" dirty="0">
              <a:latin typeface="Times New Roman" pitchFamily="18" charset="0"/>
              <a:cs typeface="Times New Roman" pitchFamily="18" charset="0"/>
            </a:endParaRPr>
          </a:p>
        </p:txBody>
      </p:sp>
      <p:sp>
        <p:nvSpPr>
          <p:cNvPr id="373" name="Прямоугольник 372"/>
          <p:cNvSpPr/>
          <p:nvPr/>
        </p:nvSpPr>
        <p:spPr>
          <a:xfrm>
            <a:off x="4295226" y="4007399"/>
            <a:ext cx="4810674" cy="26398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74" name="Прямоугольник 373"/>
          <p:cNvSpPr/>
          <p:nvPr/>
        </p:nvSpPr>
        <p:spPr>
          <a:xfrm>
            <a:off x="4247133" y="4057233"/>
            <a:ext cx="4675333" cy="3046988"/>
          </a:xfrm>
          <a:prstGeom prst="rect">
            <a:avLst/>
          </a:prstGeom>
        </p:spPr>
        <p:txBody>
          <a:bodyPr wrap="square">
            <a:spAutoFit/>
          </a:bodyPr>
          <a:lstStyle/>
          <a:p>
            <a:pPr algn="just"/>
            <a:r>
              <a:rPr lang="kk-KZ" sz="1600" i="1" dirty="0" smtClean="0"/>
              <a:t>Жинақ </a:t>
            </a:r>
            <a:r>
              <a:rPr lang="kk-KZ" sz="1600" i="1" dirty="0"/>
              <a:t>шоттар ашылған банктер өз қаражаты есебінен ҚР Үкіметімен анықталған күрделі жөндеуді кепілдендірудің арнайы қорына, мүліктің меншік иелері бірлестігінің көппәтерлі тұрғын үйдің ортақ мүлкіне күрделі жөндеу жүргізу үшін алған тұрғын үй қарыздарын өтеу бойынша міндеттерін орындауды кепілдендіру, сондай-ақ жинақталған қаржыны сақтау үшін заңнамамен белгіленген мөлшерде ай сайын жарналар салады.</a:t>
            </a:r>
            <a:endParaRPr lang="ru-RU" sz="1600" dirty="0"/>
          </a:p>
          <a:p>
            <a:pPr algn="just"/>
            <a:endParaRPr lang="ru-RU" sz="1600" dirty="0"/>
          </a:p>
          <a:p>
            <a:r>
              <a:rPr lang="kk-KZ" sz="1600" i="1" dirty="0"/>
              <a:t> </a:t>
            </a:r>
            <a:endParaRPr lang="ru-RU" sz="1600" dirty="0"/>
          </a:p>
        </p:txBody>
      </p:sp>
      <p:sp>
        <p:nvSpPr>
          <p:cNvPr id="379" name="Прямоугольник 378"/>
          <p:cNvSpPr/>
          <p:nvPr/>
        </p:nvSpPr>
        <p:spPr>
          <a:xfrm>
            <a:off x="248" y="4004499"/>
            <a:ext cx="4246885" cy="2623739"/>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0" name="Прямоугольник 379"/>
          <p:cNvSpPr/>
          <p:nvPr/>
        </p:nvSpPr>
        <p:spPr>
          <a:xfrm>
            <a:off x="67772" y="4135089"/>
            <a:ext cx="3844270" cy="2251899"/>
          </a:xfrm>
          <a:prstGeom prst="rect">
            <a:avLst/>
          </a:prstGeom>
        </p:spPr>
        <p:txBody>
          <a:bodyPr wrap="square">
            <a:spAutoFit/>
          </a:bodyPr>
          <a:lstStyle/>
          <a:p>
            <a:endParaRPr lang="kk-KZ" sz="1600" dirty="0" smtClean="0"/>
          </a:p>
          <a:p>
            <a:pPr algn="just">
              <a:lnSpc>
                <a:spcPts val="2600"/>
              </a:lnSpc>
            </a:pPr>
            <a:r>
              <a:rPr lang="kk-KZ" sz="1600" dirty="0" smtClean="0"/>
              <a:t>Пәтерлер </a:t>
            </a:r>
            <a:r>
              <a:rPr lang="kk-KZ" sz="1600" dirty="0"/>
              <a:t>мен тұрғын емес үй-жайлардың иелері </a:t>
            </a:r>
            <a:r>
              <a:rPr lang="kk-KZ" sz="1600" dirty="0" smtClean="0"/>
              <a:t>КТҮ-дің </a:t>
            </a:r>
            <a:r>
              <a:rPr lang="kk-KZ" sz="1600" dirty="0"/>
              <a:t>ортақ мүлкін сақтау және оны қауіпсіз пайдалану, оның ішінде күрделі жөндеу жұмыстарын жүргізу жөнінде шаралар қабылдауға міндетті</a:t>
            </a:r>
            <a:r>
              <a:rPr lang="kk-KZ" sz="1600" dirty="0" smtClean="0"/>
              <a:t>.</a:t>
            </a:r>
          </a:p>
          <a:p>
            <a:endParaRPr lang="ru-RU" sz="1600" dirty="0"/>
          </a:p>
        </p:txBody>
      </p:sp>
      <p:sp>
        <p:nvSpPr>
          <p:cNvPr id="3" name="Номер слайда 2"/>
          <p:cNvSpPr>
            <a:spLocks noGrp="1"/>
          </p:cNvSpPr>
          <p:nvPr>
            <p:ph type="sldNum" sz="quarter" idx="12"/>
          </p:nvPr>
        </p:nvSpPr>
        <p:spPr>
          <a:xfrm>
            <a:off x="8735154" y="6356351"/>
            <a:ext cx="294546" cy="365125"/>
          </a:xfrm>
        </p:spPr>
        <p:txBody>
          <a:bodyPr/>
          <a:lstStyle/>
          <a:p>
            <a:fld id="{5B7F4A50-1F8C-475C-94C6-2D50DD7E8F1E}" type="slidenum">
              <a:rPr lang="en-US" smtClean="0">
                <a:solidFill>
                  <a:schemeClr val="tx1"/>
                </a:solidFill>
              </a:rPr>
              <a:t>6</a:t>
            </a:fld>
            <a:endParaRPr lang="en-US">
              <a:solidFill>
                <a:schemeClr val="tx1"/>
              </a:solidFill>
            </a:endParaRPr>
          </a:p>
        </p:txBody>
      </p:sp>
      <p:pic>
        <p:nvPicPr>
          <p:cNvPr id="363" name="Рисунок 362" descr="Image result for картинки сравнение старый дом и новый дом МЖД после капремонт"/>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37180" y="481659"/>
            <a:ext cx="3249295" cy="2012303"/>
          </a:xfrm>
          <a:prstGeom prst="rect">
            <a:avLst/>
          </a:prstGeom>
          <a:noFill/>
          <a:ln>
            <a:noFill/>
          </a:ln>
        </p:spPr>
      </p:pic>
    </p:spTree>
    <p:extLst>
      <p:ext uri="{BB962C8B-B14F-4D97-AF65-F5344CB8AC3E}">
        <p14:creationId xmlns:p14="http://schemas.microsoft.com/office/powerpoint/2010/main" val="2057897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 calcmode="lin" valueType="num">
                                      <p:cBhvr>
                                        <p:cTn id="7" dur="1000" fill="hold"/>
                                        <p:tgtEl>
                                          <p:spTgt spid="66"/>
                                        </p:tgtEl>
                                        <p:attrNameLst>
                                          <p:attrName>ppt_w</p:attrName>
                                        </p:attrNameLst>
                                      </p:cBhvr>
                                      <p:tavLst>
                                        <p:tav tm="0">
                                          <p:val>
                                            <p:fltVal val="0"/>
                                          </p:val>
                                        </p:tav>
                                        <p:tav tm="100000">
                                          <p:val>
                                            <p:strVal val="#ppt_w"/>
                                          </p:val>
                                        </p:tav>
                                      </p:tavLst>
                                    </p:anim>
                                    <p:anim calcmode="lin" valueType="num">
                                      <p:cBhvr>
                                        <p:cTn id="8" dur="1000" fill="hold"/>
                                        <p:tgtEl>
                                          <p:spTgt spid="66"/>
                                        </p:tgtEl>
                                        <p:attrNameLst>
                                          <p:attrName>ppt_h</p:attrName>
                                        </p:attrNameLst>
                                      </p:cBhvr>
                                      <p:tavLst>
                                        <p:tav tm="0">
                                          <p:val>
                                            <p:fltVal val="0"/>
                                          </p:val>
                                        </p:tav>
                                        <p:tav tm="100000">
                                          <p:val>
                                            <p:strVal val="#ppt_h"/>
                                          </p:val>
                                        </p:tav>
                                      </p:tavLst>
                                    </p:anim>
                                    <p:animEffect transition="in" filter="fade">
                                      <p:cBhvr>
                                        <p:cTn id="9" dur="10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lumMod val="0"/>
                <a:lumOff val="100000"/>
              </a:schemeClr>
            </a:gs>
            <a:gs pos="100000">
              <a:schemeClr val="bg2">
                <a:shade val="100000"/>
                <a:satMod val="115000"/>
                <a:lumMod val="87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375" name="Пятиугольник 374"/>
          <p:cNvSpPr/>
          <p:nvPr/>
        </p:nvSpPr>
        <p:spPr>
          <a:xfrm>
            <a:off x="4050072" y="1527506"/>
            <a:ext cx="4926950" cy="936000"/>
          </a:xfrm>
          <a:prstGeom prst="homePlate">
            <a:avLst>
              <a:gd name="adj" fmla="val 17497"/>
            </a:avLst>
          </a:prstGeom>
          <a:solidFill>
            <a:schemeClr val="accent5">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77913"/>
            <a:endParaRPr lang="ru-RU" b="1" dirty="0">
              <a:solidFill>
                <a:srgbClr val="0070C0"/>
              </a:solidFill>
            </a:endParaRPr>
          </a:p>
        </p:txBody>
      </p:sp>
      <p:sp>
        <p:nvSpPr>
          <p:cNvPr id="376" name="Пятиугольник 375"/>
          <p:cNvSpPr/>
          <p:nvPr/>
        </p:nvSpPr>
        <p:spPr>
          <a:xfrm>
            <a:off x="4050071" y="555506"/>
            <a:ext cx="4926951" cy="936000"/>
          </a:xfrm>
          <a:prstGeom prst="homePlate">
            <a:avLst>
              <a:gd name="adj" fmla="val 17497"/>
            </a:avLst>
          </a:prstGeom>
          <a:solidFill>
            <a:schemeClr val="accent5">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1" dirty="0">
              <a:solidFill>
                <a:srgbClr val="0070C0"/>
              </a:solidFill>
            </a:endParaRPr>
          </a:p>
        </p:txBody>
      </p:sp>
      <p:sp>
        <p:nvSpPr>
          <p:cNvPr id="66" name="Прямоугольник 65"/>
          <p:cNvSpPr/>
          <p:nvPr/>
        </p:nvSpPr>
        <p:spPr>
          <a:xfrm>
            <a:off x="0" y="8802"/>
            <a:ext cx="9144000" cy="338554"/>
          </a:xfrm>
          <a:prstGeom prst="rect">
            <a:avLst/>
          </a:prstGeom>
          <a:solidFill>
            <a:srgbClr val="0070C0"/>
          </a:solidFill>
          <a:effectLst/>
        </p:spPr>
        <p:txBody>
          <a:bodyPr wrap="square" lIns="91440" tIns="45720" rIns="91440" bIns="45720">
            <a:spAutoFit/>
          </a:bodyPr>
          <a:lstStyle/>
          <a:p>
            <a:pPr algn="ctr"/>
            <a:r>
              <a:rPr lang="en-US" sz="1600" b="1" dirty="0" smtClean="0">
                <a:ln w="0"/>
                <a:solidFill>
                  <a:schemeClr val="bg1"/>
                </a:solidFill>
                <a:latin typeface="Arial Narrow" pitchFamily="34" charset="0"/>
              </a:rPr>
              <a:t>III – </a:t>
            </a:r>
            <a:r>
              <a:rPr lang="kk-KZ" sz="1600" b="1" dirty="0" smtClean="0">
                <a:ln w="0"/>
                <a:solidFill>
                  <a:schemeClr val="bg1"/>
                </a:solidFill>
                <a:latin typeface="Arial Narrow" pitchFamily="34" charset="0"/>
              </a:rPr>
              <a:t>ПАЙДАЛАНУ ШЫҒЫНДАРЫНЫҢ МИНИМАЛЬДІ МӨЛШЕРІН БЕЛГІЛЕУ</a:t>
            </a:r>
            <a:endParaRPr lang="ru-RU" sz="1600" b="1" cap="none" spc="0" dirty="0">
              <a:ln w="0"/>
              <a:solidFill>
                <a:schemeClr val="bg1"/>
              </a:solidFill>
              <a:latin typeface="Arial Narrow" pitchFamily="34" charset="0"/>
            </a:endParaRPr>
          </a:p>
        </p:txBody>
      </p:sp>
      <p:sp>
        <p:nvSpPr>
          <p:cNvPr id="3" name="Номер слайда 2"/>
          <p:cNvSpPr>
            <a:spLocks noGrp="1"/>
          </p:cNvSpPr>
          <p:nvPr>
            <p:ph type="sldNum" sz="quarter" idx="12"/>
          </p:nvPr>
        </p:nvSpPr>
        <p:spPr>
          <a:xfrm>
            <a:off x="8735154" y="6356351"/>
            <a:ext cx="294546" cy="365125"/>
          </a:xfrm>
        </p:spPr>
        <p:txBody>
          <a:bodyPr/>
          <a:lstStyle/>
          <a:p>
            <a:fld id="{5B7F4A50-1F8C-475C-94C6-2D50DD7E8F1E}" type="slidenum">
              <a:rPr lang="en-US" smtClean="0">
                <a:solidFill>
                  <a:schemeClr val="tx1"/>
                </a:solidFill>
              </a:rPr>
              <a:t>7</a:t>
            </a:fld>
            <a:endParaRPr lang="en-US" dirty="0">
              <a:solidFill>
                <a:schemeClr val="tx1"/>
              </a:solidFill>
            </a:endParaRPr>
          </a:p>
        </p:txBody>
      </p:sp>
      <p:sp>
        <p:nvSpPr>
          <p:cNvPr id="368" name="Пятиугольник 367"/>
          <p:cNvSpPr/>
          <p:nvPr/>
        </p:nvSpPr>
        <p:spPr>
          <a:xfrm>
            <a:off x="308072" y="547545"/>
            <a:ext cx="4643772" cy="1908000"/>
          </a:xfrm>
          <a:prstGeom prst="homePlate">
            <a:avLst/>
          </a:prstGeom>
          <a:solidFill>
            <a:schemeClr val="accent6">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87525" algn="ctr">
              <a:tabLst>
                <a:tab pos="982663" algn="l"/>
              </a:tabLst>
            </a:pPr>
            <a:endParaRPr lang="ru-RU" b="1" dirty="0">
              <a:solidFill>
                <a:srgbClr val="0070C0"/>
              </a:solidFill>
              <a:latin typeface="Arial" pitchFamily="34" charset="0"/>
              <a:cs typeface="Arial" pitchFamily="34" charset="0"/>
            </a:endParaRPr>
          </a:p>
        </p:txBody>
      </p:sp>
      <p:sp>
        <p:nvSpPr>
          <p:cNvPr id="367" name="Прямоугольник 366"/>
          <p:cNvSpPr/>
          <p:nvPr/>
        </p:nvSpPr>
        <p:spPr>
          <a:xfrm>
            <a:off x="502862" y="807703"/>
            <a:ext cx="3838550" cy="1384995"/>
          </a:xfrm>
          <a:prstGeom prst="rect">
            <a:avLst/>
          </a:prstGeom>
        </p:spPr>
        <p:txBody>
          <a:bodyPr wrap="square">
            <a:spAutoFit/>
          </a:bodyPr>
          <a:lstStyle/>
          <a:p>
            <a:pPr algn="just"/>
            <a:r>
              <a:rPr lang="ru-RU" sz="1600" dirty="0" smtClean="0">
                <a:latin typeface="Arial Narrow" pitchFamily="34" charset="0"/>
              </a:rPr>
              <a:t>        </a:t>
            </a:r>
            <a:r>
              <a:rPr lang="ru-RU" sz="1600" b="1" dirty="0" smtClean="0">
                <a:solidFill>
                  <a:srgbClr val="FF0000"/>
                </a:solidFill>
                <a:latin typeface="Arial Narrow" pitchFamily="34" charset="0"/>
              </a:rPr>
              <a:t>МӘСЛИХАТПЕН </a:t>
            </a:r>
            <a:r>
              <a:rPr lang="ru-RU" sz="1600" b="1" dirty="0" err="1" smtClean="0">
                <a:solidFill>
                  <a:srgbClr val="FF0000"/>
                </a:solidFill>
                <a:latin typeface="Arial Narrow" pitchFamily="34" charset="0"/>
              </a:rPr>
              <a:t>бекітіледі</a:t>
            </a:r>
            <a:endParaRPr lang="ru-RU" sz="1600" b="1" dirty="0" smtClean="0">
              <a:solidFill>
                <a:srgbClr val="FF0000"/>
              </a:solidFill>
              <a:latin typeface="Arial Narrow" pitchFamily="34" charset="0"/>
            </a:endParaRPr>
          </a:p>
          <a:p>
            <a:pPr algn="just"/>
            <a:endParaRPr lang="ru-RU" sz="800" dirty="0" smtClean="0">
              <a:latin typeface="Arial Narrow" pitchFamily="34" charset="0"/>
            </a:endParaRPr>
          </a:p>
          <a:p>
            <a:pPr algn="just"/>
            <a:r>
              <a:rPr lang="kk-KZ" sz="1600" dirty="0" smtClean="0">
                <a:latin typeface="Arial Narrow" panose="020B0606020202030204" pitchFamily="34" charset="0"/>
              </a:rPr>
              <a:t>пайдалану шығындарының </a:t>
            </a:r>
            <a:r>
              <a:rPr lang="kk-KZ" sz="1600" dirty="0">
                <a:latin typeface="Arial Narrow" panose="020B0606020202030204" pitchFamily="34" charset="0"/>
              </a:rPr>
              <a:t>ең төменгі мөлшерлемесін анықтауға </a:t>
            </a:r>
            <a:r>
              <a:rPr lang="kk-KZ" sz="1600" b="1" dirty="0" smtClean="0">
                <a:solidFill>
                  <a:srgbClr val="FF0000"/>
                </a:solidFill>
                <a:latin typeface="Arial Narrow" panose="020B0606020202030204" pitchFamily="34" charset="0"/>
              </a:rPr>
              <a:t>мәслихаттарға</a:t>
            </a:r>
            <a:r>
              <a:rPr lang="kk-KZ" sz="1600" dirty="0" smtClean="0">
                <a:latin typeface="Arial Narrow" panose="020B0606020202030204" pitchFamily="34" charset="0"/>
              </a:rPr>
              <a:t> </a:t>
            </a:r>
            <a:r>
              <a:rPr lang="kk-KZ" sz="1600" b="1" dirty="0" smtClean="0">
                <a:solidFill>
                  <a:srgbClr val="FF0000"/>
                </a:solidFill>
                <a:latin typeface="Arial Narrow" panose="020B0606020202030204" pitchFamily="34" charset="0"/>
              </a:rPr>
              <a:t>өкілеттік беру </a:t>
            </a:r>
            <a:r>
              <a:rPr lang="kk-KZ" sz="1600" dirty="0" smtClean="0">
                <a:latin typeface="Arial Narrow" panose="020B0606020202030204" pitchFamily="34" charset="0"/>
              </a:rPr>
              <a:t>ұсынылуда:</a:t>
            </a:r>
            <a:endParaRPr lang="ru-RU" sz="1600" dirty="0">
              <a:latin typeface="Arial Narrow" panose="020B0606020202030204" pitchFamily="34" charset="0"/>
            </a:endParaRPr>
          </a:p>
          <a:p>
            <a:endParaRPr lang="ru-RU" sz="1200" dirty="0">
              <a:solidFill>
                <a:srgbClr val="002060"/>
              </a:solidFill>
              <a:latin typeface="Arial Narrow" pitchFamily="34" charset="0"/>
            </a:endParaRPr>
          </a:p>
        </p:txBody>
      </p:sp>
      <p:sp>
        <p:nvSpPr>
          <p:cNvPr id="377" name="Прямоугольник 376"/>
          <p:cNvSpPr/>
          <p:nvPr/>
        </p:nvSpPr>
        <p:spPr>
          <a:xfrm>
            <a:off x="4924030" y="849978"/>
            <a:ext cx="3408937" cy="477054"/>
          </a:xfrm>
          <a:prstGeom prst="rect">
            <a:avLst/>
          </a:prstGeom>
        </p:spPr>
        <p:txBody>
          <a:bodyPr wrap="square">
            <a:spAutoFit/>
          </a:bodyPr>
          <a:lstStyle/>
          <a:p>
            <a:pPr algn="just">
              <a:lnSpc>
                <a:spcPts val="1500"/>
              </a:lnSpc>
            </a:pPr>
            <a:r>
              <a:rPr lang="ru-RU" sz="1600" dirty="0" smtClean="0">
                <a:solidFill>
                  <a:srgbClr val="002060"/>
                </a:solidFill>
                <a:latin typeface="Arial Narrow" pitchFamily="34" charset="0"/>
              </a:rPr>
              <a:t> - КТҮ </a:t>
            </a:r>
            <a:r>
              <a:rPr lang="ru-RU" sz="1600" dirty="0" err="1" smtClean="0">
                <a:solidFill>
                  <a:srgbClr val="002060"/>
                </a:solidFill>
                <a:latin typeface="Arial Narrow" pitchFamily="34" charset="0"/>
              </a:rPr>
              <a:t>басқару</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бойынша</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қызмет</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көрсету</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түрінде</a:t>
            </a:r>
            <a:endParaRPr lang="ru-RU" sz="1200" dirty="0">
              <a:solidFill>
                <a:srgbClr val="002060"/>
              </a:solidFill>
              <a:latin typeface="Arial Narrow" pitchFamily="34" charset="0"/>
            </a:endParaRPr>
          </a:p>
        </p:txBody>
      </p:sp>
      <p:sp>
        <p:nvSpPr>
          <p:cNvPr id="378" name="Прямоугольник 377"/>
          <p:cNvSpPr/>
          <p:nvPr/>
        </p:nvSpPr>
        <p:spPr>
          <a:xfrm>
            <a:off x="4909451" y="1722168"/>
            <a:ext cx="3408937" cy="477054"/>
          </a:xfrm>
          <a:prstGeom prst="rect">
            <a:avLst/>
          </a:prstGeom>
        </p:spPr>
        <p:txBody>
          <a:bodyPr wrap="square">
            <a:spAutoFit/>
          </a:bodyPr>
          <a:lstStyle/>
          <a:p>
            <a:pPr algn="just">
              <a:lnSpc>
                <a:spcPts val="1500"/>
              </a:lnSpc>
            </a:pPr>
            <a:r>
              <a:rPr lang="ru-RU" sz="1600" dirty="0" smtClean="0">
                <a:solidFill>
                  <a:srgbClr val="002060"/>
                </a:solidFill>
                <a:latin typeface="Arial Narrow" pitchFamily="34" charset="0"/>
              </a:rPr>
              <a:t> - </a:t>
            </a:r>
            <a:r>
              <a:rPr lang="ru-RU" sz="1600" dirty="0" err="1" smtClean="0">
                <a:solidFill>
                  <a:srgbClr val="002060"/>
                </a:solidFill>
                <a:latin typeface="Arial Narrow" pitchFamily="34" charset="0"/>
              </a:rPr>
              <a:t>өңірге</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орташа</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жалақыға</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және</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т.б</a:t>
            </a:r>
            <a:r>
              <a:rPr lang="ru-RU" sz="1600" dirty="0" smtClean="0">
                <a:solidFill>
                  <a:srgbClr val="002060"/>
                </a:solidFill>
                <a:latin typeface="Arial Narrow" pitchFamily="34" charset="0"/>
              </a:rPr>
              <a:t>. </a:t>
            </a:r>
            <a:r>
              <a:rPr lang="ru-RU" sz="1600" dirty="0" err="1" smtClean="0">
                <a:solidFill>
                  <a:srgbClr val="002060"/>
                </a:solidFill>
                <a:latin typeface="Arial Narrow" pitchFamily="34" charset="0"/>
              </a:rPr>
              <a:t>байланысты</a:t>
            </a:r>
            <a:endParaRPr lang="ru-RU" sz="1200" dirty="0">
              <a:solidFill>
                <a:srgbClr val="002060"/>
              </a:solidFill>
              <a:latin typeface="Arial Narrow" pitchFamily="34" charset="0"/>
            </a:endParaRPr>
          </a:p>
        </p:txBody>
      </p:sp>
      <p:sp>
        <p:nvSpPr>
          <p:cNvPr id="2" name="Прямоугольник 1"/>
          <p:cNvSpPr/>
          <p:nvPr/>
        </p:nvSpPr>
        <p:spPr>
          <a:xfrm>
            <a:off x="171450" y="2523143"/>
            <a:ext cx="8910347" cy="3539430"/>
          </a:xfrm>
          <a:prstGeom prst="rect">
            <a:avLst/>
          </a:prstGeom>
        </p:spPr>
        <p:txBody>
          <a:bodyPr wrap="square">
            <a:spAutoFit/>
          </a:bodyPr>
          <a:lstStyle/>
          <a:p>
            <a:endParaRPr lang="ru-RU" b="1" dirty="0" smtClean="0"/>
          </a:p>
          <a:p>
            <a:r>
              <a:rPr lang="kk-KZ" b="1" dirty="0"/>
              <a:t>КОНДОМИНИУМ ОБЪЕКТІСІНІҢ ОРТАҚ МҮЛКІН ПАЙДАЛАНУ МЕН ЖӨНДЕУ ҮШІН КЕЛЕСІ ШЫҒЫНДАР КІРЕДІ</a:t>
            </a:r>
            <a:r>
              <a:rPr lang="kk-KZ" b="1" dirty="0" smtClean="0"/>
              <a:t>:</a:t>
            </a:r>
            <a:endParaRPr lang="ru-RU" b="1" dirty="0" smtClean="0"/>
          </a:p>
          <a:p>
            <a:r>
              <a:rPr lang="ru-RU" dirty="0"/>
              <a:t>      </a:t>
            </a:r>
            <a:r>
              <a:rPr lang="kk-KZ" dirty="0" smtClean="0"/>
              <a:t>- подвалдар </a:t>
            </a:r>
            <a:r>
              <a:rPr lang="kk-KZ" dirty="0"/>
              <a:t>және басқа да ортақ пайдалану орындарын зарарсыздандыруға, детаризация және </a:t>
            </a:r>
            <a:r>
              <a:rPr lang="kk-KZ" dirty="0" smtClean="0"/>
              <a:t>дәрілеу бойынша </a:t>
            </a:r>
            <a:r>
              <a:rPr lang="kk-KZ" dirty="0"/>
              <a:t>қызметтер;</a:t>
            </a:r>
            <a:endParaRPr lang="ru-RU" dirty="0"/>
          </a:p>
          <a:p>
            <a:r>
              <a:rPr lang="kk-KZ" dirty="0" smtClean="0"/>
              <a:t>     - </a:t>
            </a:r>
            <a:r>
              <a:rPr lang="kk-KZ" dirty="0"/>
              <a:t>өрт сөндіру </a:t>
            </a:r>
            <a:r>
              <a:rPr lang="kk-KZ" dirty="0" smtClean="0"/>
              <a:t>іс-шараларының, оның </a:t>
            </a:r>
            <a:r>
              <a:rPr lang="kk-KZ" dirty="0"/>
              <a:t>ішінде өрт сөндіру жабдықтарын ұстау, өрт сөндіргіштерді алу және зарядтау бойынша қызметтер;</a:t>
            </a:r>
            <a:endParaRPr lang="ru-RU" dirty="0"/>
          </a:p>
          <a:p>
            <a:r>
              <a:rPr lang="kk-KZ" dirty="0" smtClean="0"/>
              <a:t>    - </a:t>
            </a:r>
            <a:r>
              <a:rPr lang="kk-KZ" dirty="0"/>
              <a:t>орталық жылыту </a:t>
            </a:r>
            <a:r>
              <a:rPr lang="kk-KZ" dirty="0" smtClean="0"/>
              <a:t>жүйелерінің қызмет көрсетуі, </a:t>
            </a:r>
            <a:r>
              <a:rPr lang="kk-KZ" dirty="0"/>
              <a:t>сумен жабдықтау, су бұру, қоғамдық орындарда электрмен жабдықтау, желдету және жылыту маусымына дайындық бойынша қызметтер;</a:t>
            </a:r>
            <a:endParaRPr lang="ru-RU" dirty="0"/>
          </a:p>
          <a:p>
            <a:r>
              <a:rPr lang="kk-KZ" dirty="0" smtClean="0"/>
              <a:t>   - </a:t>
            </a:r>
            <a:r>
              <a:rPr lang="kk-KZ" dirty="0"/>
              <a:t>төтенше жағдайларды </a:t>
            </a:r>
            <a:r>
              <a:rPr lang="kk-KZ" dirty="0" smtClean="0"/>
              <a:t>жою бойынша қызметтер;</a:t>
            </a:r>
            <a:endParaRPr lang="ru-RU" dirty="0"/>
          </a:p>
          <a:p>
            <a:r>
              <a:rPr lang="kk-KZ" dirty="0" smtClean="0"/>
              <a:t>   - </a:t>
            </a:r>
            <a:r>
              <a:rPr lang="kk-KZ" dirty="0"/>
              <a:t>кіші </a:t>
            </a:r>
            <a:r>
              <a:rPr lang="kk-KZ" dirty="0" smtClean="0"/>
              <a:t>сәулеттік нысандар </a:t>
            </a:r>
            <a:r>
              <a:rPr lang="kk-KZ" dirty="0"/>
              <a:t>мен қоршауларды </a:t>
            </a:r>
            <a:r>
              <a:rPr lang="kk-KZ" dirty="0" smtClean="0"/>
              <a:t>әдеттегі жөндеу мен бояу</a:t>
            </a:r>
            <a:r>
              <a:rPr lang="kk-KZ" dirty="0"/>
              <a:t>.</a:t>
            </a:r>
            <a:endParaRPr lang="ru-RU" dirty="0"/>
          </a:p>
          <a:p>
            <a:endParaRPr lang="ru-RU" dirty="0" smtClean="0"/>
          </a:p>
          <a:p>
            <a:r>
              <a:rPr lang="kk-KZ" b="1" dirty="0"/>
              <a:t>ЖЕР </a:t>
            </a:r>
            <a:r>
              <a:rPr lang="kk-KZ" b="1" dirty="0" smtClean="0"/>
              <a:t>УЧАСТКЕЛЕРІН </a:t>
            </a:r>
            <a:r>
              <a:rPr lang="kk-KZ" b="1" dirty="0"/>
              <a:t>КҮТІП ҰСТАУ ҮШІН КЕЛЕСІ ШЫҒЫНДАР КІРЕДІ</a:t>
            </a:r>
            <a:r>
              <a:rPr lang="kk-KZ" b="1" dirty="0" smtClean="0"/>
              <a:t>:</a:t>
            </a:r>
          </a:p>
          <a:p>
            <a:r>
              <a:rPr lang="ru-RU" dirty="0"/>
              <a:t>      </a:t>
            </a:r>
            <a:r>
              <a:rPr lang="kk-KZ" dirty="0"/>
              <a:t>- көгалдандыру </a:t>
            </a:r>
            <a:r>
              <a:rPr lang="kk-KZ" dirty="0" smtClean="0"/>
              <a:t>бойынша қызметтері (жас көшеттер мен гүлзарларды отырғызу, күту, қию);</a:t>
            </a:r>
            <a:endParaRPr lang="ru-RU" dirty="0"/>
          </a:p>
          <a:p>
            <a:r>
              <a:rPr lang="kk-KZ" dirty="0" smtClean="0"/>
              <a:t>      - қоқыс құбырын санитарлық тазалау, </a:t>
            </a:r>
            <a:r>
              <a:rPr lang="kk-KZ" dirty="0"/>
              <a:t>іргелес аумақтарды тазалау, қоқысты, қарды және жапырақтарды </a:t>
            </a:r>
            <a:r>
              <a:rPr lang="kk-KZ" dirty="0" smtClean="0"/>
              <a:t>тазалап шығару;</a:t>
            </a:r>
            <a:endParaRPr lang="ru-RU" dirty="0"/>
          </a:p>
          <a:p>
            <a:r>
              <a:rPr lang="kk-KZ" dirty="0" smtClean="0"/>
              <a:t>      - ортақ пайдалану орындарын санитарлық тазалау қызметтері.</a:t>
            </a:r>
            <a:endParaRPr lang="ru-RU" dirty="0"/>
          </a:p>
        </p:txBody>
      </p:sp>
    </p:spTree>
    <p:extLst>
      <p:ext uri="{BB962C8B-B14F-4D97-AF65-F5344CB8AC3E}">
        <p14:creationId xmlns:p14="http://schemas.microsoft.com/office/powerpoint/2010/main" val="596988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 calcmode="lin" valueType="num">
                                      <p:cBhvr>
                                        <p:cTn id="7" dur="1000" fill="hold"/>
                                        <p:tgtEl>
                                          <p:spTgt spid="66"/>
                                        </p:tgtEl>
                                        <p:attrNameLst>
                                          <p:attrName>ppt_w</p:attrName>
                                        </p:attrNameLst>
                                      </p:cBhvr>
                                      <p:tavLst>
                                        <p:tav tm="0">
                                          <p:val>
                                            <p:fltVal val="0"/>
                                          </p:val>
                                        </p:tav>
                                        <p:tav tm="100000">
                                          <p:val>
                                            <p:strVal val="#ppt_w"/>
                                          </p:val>
                                        </p:tav>
                                      </p:tavLst>
                                    </p:anim>
                                    <p:anim calcmode="lin" valueType="num">
                                      <p:cBhvr>
                                        <p:cTn id="8" dur="1000" fill="hold"/>
                                        <p:tgtEl>
                                          <p:spTgt spid="66"/>
                                        </p:tgtEl>
                                        <p:attrNameLst>
                                          <p:attrName>ppt_h</p:attrName>
                                        </p:attrNameLst>
                                      </p:cBhvr>
                                      <p:tavLst>
                                        <p:tav tm="0">
                                          <p:val>
                                            <p:fltVal val="0"/>
                                          </p:val>
                                        </p:tav>
                                        <p:tav tm="100000">
                                          <p:val>
                                            <p:strVal val="#ppt_h"/>
                                          </p:val>
                                        </p:tav>
                                      </p:tavLst>
                                    </p:anim>
                                    <p:animEffect transition="in" filter="fade">
                                      <p:cBhvr>
                                        <p:cTn id="9" dur="10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hape 878"/>
          <p:cNvSpPr/>
          <p:nvPr/>
        </p:nvSpPr>
        <p:spPr>
          <a:xfrm>
            <a:off x="1485554" y="1449835"/>
            <a:ext cx="5186921" cy="237561"/>
          </a:xfrm>
          <a:prstGeom prst="rect">
            <a:avLst/>
          </a:prstGeom>
          <a:noFill/>
          <a:ln>
            <a:noFill/>
          </a:ln>
        </p:spPr>
        <p:txBody>
          <a:bodyPr spcFirstLastPara="1" wrap="square" lIns="35621" tIns="17806" rIns="35621" bIns="17806" anchor="ctr" anchorCtr="0">
            <a:noAutofit/>
          </a:bodyPr>
          <a:lstStyle/>
          <a:p>
            <a:pPr defTabSz="680946"/>
            <a:endParaRPr lang="ru-RU" sz="1245" b="1" dirty="0">
              <a:solidFill>
                <a:srgbClr val="0070C0"/>
              </a:solidFill>
              <a:latin typeface="Century Gothic" panose="020B0502020202020204" pitchFamily="34" charset="0"/>
              <a:cs typeface="Arial" panose="020B0604020202020204" pitchFamily="34" charset="0"/>
            </a:endParaRPr>
          </a:p>
        </p:txBody>
      </p:sp>
      <p:cxnSp>
        <p:nvCxnSpPr>
          <p:cNvPr id="43" name="Прямая соединительная линия 42"/>
          <p:cNvCxnSpPr/>
          <p:nvPr/>
        </p:nvCxnSpPr>
        <p:spPr>
          <a:xfrm flipV="1">
            <a:off x="1270081" y="2231558"/>
            <a:ext cx="6602522" cy="14764"/>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flipV="1">
            <a:off x="4563265" y="1873580"/>
            <a:ext cx="0" cy="361474"/>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Прямая соединительная линия 66"/>
          <p:cNvCxnSpPr/>
          <p:nvPr/>
        </p:nvCxnSpPr>
        <p:spPr>
          <a:xfrm flipH="1" flipV="1">
            <a:off x="6216043" y="2234679"/>
            <a:ext cx="2" cy="181129"/>
          </a:xfrm>
          <a:prstGeom prst="line">
            <a:avLst/>
          </a:prstGeom>
        </p:spPr>
        <p:style>
          <a:lnRef idx="1">
            <a:schemeClr val="accent1"/>
          </a:lnRef>
          <a:fillRef idx="0">
            <a:schemeClr val="accent1"/>
          </a:fillRef>
          <a:effectRef idx="0">
            <a:schemeClr val="accent1"/>
          </a:effectRef>
          <a:fontRef idx="minor">
            <a:schemeClr val="tx1"/>
          </a:fontRef>
        </p:style>
      </p:cxnSp>
      <p:grpSp>
        <p:nvGrpSpPr>
          <p:cNvPr id="2" name="Группа 1"/>
          <p:cNvGrpSpPr/>
          <p:nvPr/>
        </p:nvGrpSpPr>
        <p:grpSpPr>
          <a:xfrm>
            <a:off x="631686" y="2415804"/>
            <a:ext cx="1493998" cy="1989961"/>
            <a:chOff x="1345236" y="2741328"/>
            <a:chExt cx="1276790" cy="1580027"/>
          </a:xfrm>
        </p:grpSpPr>
        <p:sp>
          <p:nvSpPr>
            <p:cNvPr id="32" name="TextBox 31"/>
            <p:cNvSpPr txBox="1"/>
            <p:nvPr/>
          </p:nvSpPr>
          <p:spPr>
            <a:xfrm>
              <a:off x="1345236" y="2741328"/>
              <a:ext cx="1276790" cy="1179863"/>
            </a:xfrm>
            <a:prstGeom prst="rect">
              <a:avLst/>
            </a:prstGeom>
            <a:solidFill>
              <a:schemeClr val="bg1"/>
            </a:solidFill>
            <a:ln w="12700">
              <a:solidFill>
                <a:schemeClr val="accent1">
                  <a:lumMod val="75000"/>
                </a:schemeClr>
              </a:solidFill>
            </a:ln>
          </p:spPr>
          <p:txBody>
            <a:bodyPr wrap="square" rtlCol="0">
              <a:noAutofit/>
            </a:bodyPr>
            <a:lstStyle/>
            <a:p>
              <a:pPr algn="ctr"/>
              <a:r>
                <a:rPr lang="kk-KZ" b="1" dirty="0">
                  <a:latin typeface="Century Gothic" panose="020B0502020202020204" pitchFamily="34" charset="0"/>
                </a:rPr>
                <a:t>Тұрғындар</a:t>
              </a:r>
              <a:endParaRPr lang="ru-RU" b="1" dirty="0">
                <a:latin typeface="Century Gothic" panose="020B0502020202020204" pitchFamily="34" charset="0"/>
              </a:endParaRPr>
            </a:p>
            <a:p>
              <a:pPr algn="ctr"/>
              <a:endParaRPr lang="ru-RU" sz="900" b="1" dirty="0">
                <a:latin typeface="Century Gothic" panose="020B0502020202020204" pitchFamily="34" charset="0"/>
              </a:endParaRPr>
            </a:p>
            <a:p>
              <a:pPr algn="ctr"/>
              <a:endParaRPr lang="ru-RU" sz="1050" dirty="0" smtClean="0">
                <a:latin typeface="Century Gothic" panose="020B0502020202020204" pitchFamily="34" charset="0"/>
              </a:endParaRPr>
            </a:p>
            <a:p>
              <a:pPr algn="ctr"/>
              <a:endParaRPr lang="ru-RU" sz="1050" dirty="0" smtClean="0">
                <a:latin typeface="Century Gothic" panose="020B0502020202020204" pitchFamily="34" charset="0"/>
              </a:endParaRPr>
            </a:p>
            <a:p>
              <a:pPr algn="ctr"/>
              <a:r>
                <a:rPr lang="ru-RU" sz="1050" dirty="0" err="1" smtClean="0">
                  <a:latin typeface="Century Gothic" panose="020B0502020202020204" pitchFamily="34" charset="0"/>
                </a:rPr>
                <a:t>Үйді</a:t>
              </a:r>
              <a:r>
                <a:rPr lang="ru-RU" sz="1050" dirty="0" smtClean="0">
                  <a:latin typeface="Century Gothic" panose="020B0502020202020204" pitchFamily="34" charset="0"/>
                </a:rPr>
                <a:t> </a:t>
              </a:r>
              <a:r>
                <a:rPr lang="ru-RU" sz="1050" dirty="0" err="1" smtClean="0">
                  <a:latin typeface="Century Gothic" panose="020B0502020202020204" pitchFamily="34" charset="0"/>
                </a:rPr>
                <a:t>күтіп-ұстау</a:t>
              </a:r>
              <a:r>
                <a:rPr lang="ru-RU" sz="1050" dirty="0" smtClean="0">
                  <a:latin typeface="Century Gothic" panose="020B0502020202020204" pitchFamily="34" charset="0"/>
                </a:rPr>
                <a:t> </a:t>
              </a:r>
              <a:r>
                <a:rPr lang="ru-RU" sz="1050" dirty="0" err="1" smtClean="0">
                  <a:latin typeface="Century Gothic" panose="020B0502020202020204" pitchFamily="34" charset="0"/>
                </a:rPr>
                <a:t>қызметі</a:t>
              </a:r>
              <a:r>
                <a:rPr lang="ru-RU" sz="1050" dirty="0" smtClean="0">
                  <a:latin typeface="Century Gothic" panose="020B0502020202020204" pitchFamily="34" charset="0"/>
                </a:rPr>
                <a:t>  </a:t>
              </a:r>
              <a:r>
                <a:rPr lang="ru-RU" sz="1050" dirty="0" err="1">
                  <a:latin typeface="Century Gothic" panose="020B0502020202020204" pitchFamily="34" charset="0"/>
                </a:rPr>
                <a:t>және</a:t>
              </a:r>
              <a:r>
                <a:rPr lang="ru-RU" sz="1050" dirty="0">
                  <a:latin typeface="Century Gothic" panose="020B0502020202020204" pitchFamily="34" charset="0"/>
                </a:rPr>
                <a:t> </a:t>
              </a:r>
              <a:r>
                <a:rPr lang="ru-RU" sz="1050" dirty="0" err="1">
                  <a:latin typeface="Century Gothic" panose="020B0502020202020204" pitchFamily="34" charset="0"/>
                </a:rPr>
                <a:t>коммуналдық</a:t>
              </a:r>
              <a:r>
                <a:rPr lang="ru-RU" sz="1050" dirty="0">
                  <a:latin typeface="Century Gothic" panose="020B0502020202020204" pitchFamily="34" charset="0"/>
                </a:rPr>
                <a:t> </a:t>
              </a:r>
              <a:r>
                <a:rPr lang="ru-RU" sz="1050" dirty="0" err="1">
                  <a:latin typeface="Century Gothic" panose="020B0502020202020204" pitchFamily="34" charset="0"/>
                </a:rPr>
                <a:t>қызмет</a:t>
              </a:r>
              <a:r>
                <a:rPr lang="ru-RU" sz="1050" dirty="0">
                  <a:latin typeface="Century Gothic" panose="020B0502020202020204" pitchFamily="34" charset="0"/>
                </a:rPr>
                <a:t> </a:t>
              </a:r>
              <a:r>
                <a:rPr lang="ru-RU" sz="1050" dirty="0" err="1">
                  <a:latin typeface="Century Gothic" panose="020B0502020202020204" pitchFamily="34" charset="0"/>
                </a:rPr>
                <a:t>көрсетуді</a:t>
              </a:r>
              <a:r>
                <a:rPr lang="ru-RU" sz="1050" dirty="0">
                  <a:latin typeface="Century Gothic" panose="020B0502020202020204" pitchFamily="34" charset="0"/>
                </a:rPr>
                <a:t> </a:t>
              </a:r>
              <a:r>
                <a:rPr lang="ru-RU" sz="1050" dirty="0" err="1">
                  <a:latin typeface="Century Gothic" panose="020B0502020202020204" pitchFamily="34" charset="0"/>
                </a:rPr>
                <a:t>бақылау</a:t>
              </a:r>
              <a:r>
                <a:rPr lang="ru-RU" sz="1050" dirty="0">
                  <a:latin typeface="Century Gothic" panose="020B0502020202020204" pitchFamily="34" charset="0"/>
                </a:rPr>
                <a:t> </a:t>
              </a:r>
            </a:p>
          </p:txBody>
        </p:sp>
        <p:sp>
          <p:nvSpPr>
            <p:cNvPr id="73" name="TextBox 72"/>
            <p:cNvSpPr txBox="1"/>
            <p:nvPr/>
          </p:nvSpPr>
          <p:spPr>
            <a:xfrm>
              <a:off x="1345236" y="3929063"/>
              <a:ext cx="1276790" cy="392292"/>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1000" b="1" dirty="0" err="1">
                  <a:latin typeface="Century Gothic" panose="020B0502020202020204" pitchFamily="34" charset="0"/>
                </a:rPr>
                <a:t>Ашықтық</a:t>
              </a:r>
              <a:r>
                <a:rPr lang="ru-RU" sz="1000" b="1" dirty="0">
                  <a:latin typeface="Century Gothic" panose="020B0502020202020204" pitchFamily="34" charset="0"/>
                </a:rPr>
                <a:t> </a:t>
              </a:r>
            </a:p>
          </p:txBody>
        </p:sp>
      </p:grpSp>
      <p:grpSp>
        <p:nvGrpSpPr>
          <p:cNvPr id="3" name="Группа 2"/>
          <p:cNvGrpSpPr/>
          <p:nvPr/>
        </p:nvGrpSpPr>
        <p:grpSpPr>
          <a:xfrm>
            <a:off x="2290522" y="2415804"/>
            <a:ext cx="1390830" cy="1989959"/>
            <a:chOff x="2686885" y="2749202"/>
            <a:chExt cx="1276790" cy="1580026"/>
          </a:xfrm>
        </p:grpSpPr>
        <p:sp>
          <p:nvSpPr>
            <p:cNvPr id="36" name="TextBox 35"/>
            <p:cNvSpPr txBox="1"/>
            <p:nvPr/>
          </p:nvSpPr>
          <p:spPr>
            <a:xfrm>
              <a:off x="2686885" y="2749202"/>
              <a:ext cx="1276790" cy="1179863"/>
            </a:xfrm>
            <a:prstGeom prst="rect">
              <a:avLst/>
            </a:prstGeom>
            <a:solidFill>
              <a:schemeClr val="bg1"/>
            </a:solidFill>
            <a:ln w="12700">
              <a:solidFill>
                <a:schemeClr val="accent1">
                  <a:lumMod val="75000"/>
                </a:schemeClr>
              </a:solidFill>
            </a:ln>
          </p:spPr>
          <p:txBody>
            <a:bodyPr wrap="square" rtlCol="0">
              <a:noAutofit/>
            </a:bodyPr>
            <a:lstStyle/>
            <a:p>
              <a:pPr algn="ctr"/>
              <a:r>
                <a:rPr lang="ru-RU" b="1" dirty="0" err="1">
                  <a:latin typeface="Century Gothic" panose="020B0502020202020204" pitchFamily="34" charset="0"/>
                </a:rPr>
                <a:t>Басқарушы</a:t>
              </a:r>
              <a:r>
                <a:rPr lang="ru-RU" b="1" dirty="0">
                  <a:latin typeface="Century Gothic" panose="020B0502020202020204" pitchFamily="34" charset="0"/>
                </a:rPr>
                <a:t> компания</a:t>
              </a:r>
            </a:p>
            <a:p>
              <a:pPr algn="ctr"/>
              <a:endParaRPr lang="ru-RU" sz="900" b="1" dirty="0">
                <a:latin typeface="Century Gothic" panose="020B0502020202020204" pitchFamily="34" charset="0"/>
              </a:endParaRPr>
            </a:p>
            <a:p>
              <a:pPr algn="ctr"/>
              <a:endParaRPr lang="ru-RU" sz="1050" dirty="0" smtClean="0">
                <a:latin typeface="Century Gothic" panose="020B0502020202020204" pitchFamily="34" charset="0"/>
              </a:endParaRPr>
            </a:p>
            <a:p>
              <a:pPr algn="ctr"/>
              <a:r>
                <a:rPr lang="ru-RU" sz="1050" dirty="0" smtClean="0">
                  <a:latin typeface="Century Gothic" panose="020B0502020202020204" pitchFamily="34" charset="0"/>
                </a:rPr>
                <a:t>Бизнес-процесс </a:t>
              </a:r>
              <a:r>
                <a:rPr lang="ru-RU" sz="1050" dirty="0" err="1">
                  <a:latin typeface="Century Gothic" panose="020B0502020202020204" pitchFamily="34" charset="0"/>
                </a:rPr>
                <a:t>қызметтерінің</a:t>
              </a:r>
              <a:r>
                <a:rPr lang="ru-RU" sz="1050" dirty="0">
                  <a:latin typeface="Century Gothic" panose="020B0502020202020204" pitchFamily="34" charset="0"/>
                </a:rPr>
                <a:t> </a:t>
              </a:r>
              <a:r>
                <a:rPr lang="ru-RU" sz="1050" dirty="0" err="1">
                  <a:latin typeface="Century Gothic" panose="020B0502020202020204" pitchFamily="34" charset="0"/>
                </a:rPr>
                <a:t>ашықтығын</a:t>
              </a:r>
              <a:r>
                <a:rPr lang="ru-RU" sz="1050" dirty="0">
                  <a:latin typeface="Century Gothic" panose="020B0502020202020204" pitchFamily="34" charset="0"/>
                </a:rPr>
                <a:t> </a:t>
              </a:r>
              <a:r>
                <a:rPr lang="ru-RU" sz="1050" dirty="0" err="1">
                  <a:latin typeface="Century Gothic" panose="020B0502020202020204" pitchFamily="34" charset="0"/>
                </a:rPr>
                <a:t>арттыру</a:t>
              </a:r>
              <a:r>
                <a:rPr lang="ru-RU" sz="1050" dirty="0">
                  <a:latin typeface="Century Gothic" panose="020B0502020202020204" pitchFamily="34" charset="0"/>
                </a:rPr>
                <a:t>  </a:t>
              </a:r>
            </a:p>
          </p:txBody>
        </p:sp>
        <p:sp>
          <p:nvSpPr>
            <p:cNvPr id="74" name="TextBox 73"/>
            <p:cNvSpPr txBox="1"/>
            <p:nvPr/>
          </p:nvSpPr>
          <p:spPr>
            <a:xfrm>
              <a:off x="2686885" y="3936936"/>
              <a:ext cx="1276790" cy="392292"/>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1000" b="1" dirty="0" err="1">
                  <a:latin typeface="Century Gothic" panose="020B0502020202020204" pitchFamily="34" charset="0"/>
                </a:rPr>
                <a:t>Азаматтар</a:t>
              </a:r>
              <a:r>
                <a:rPr lang="ru-RU" sz="1000" b="1" dirty="0">
                  <a:latin typeface="Century Gothic" panose="020B0502020202020204" pitchFamily="34" charset="0"/>
                </a:rPr>
                <a:t> </a:t>
              </a:r>
              <a:r>
                <a:rPr lang="ru-RU" sz="1000" b="1" dirty="0" err="1">
                  <a:latin typeface="Century Gothic" panose="020B0502020202020204" pitchFamily="34" charset="0"/>
                </a:rPr>
                <a:t>сенімі</a:t>
              </a:r>
              <a:r>
                <a:rPr lang="ru-RU" sz="1000" b="1" dirty="0">
                  <a:latin typeface="Century Gothic" panose="020B0502020202020204" pitchFamily="34" charset="0"/>
                </a:rPr>
                <a:t> </a:t>
              </a:r>
            </a:p>
          </p:txBody>
        </p:sp>
      </p:grpSp>
      <p:grpSp>
        <p:nvGrpSpPr>
          <p:cNvPr id="5" name="Группа 4"/>
          <p:cNvGrpSpPr/>
          <p:nvPr/>
        </p:nvGrpSpPr>
        <p:grpSpPr>
          <a:xfrm>
            <a:off x="3916536" y="2427076"/>
            <a:ext cx="1486737" cy="1978689"/>
            <a:chOff x="3999385" y="2749201"/>
            <a:chExt cx="1276790" cy="1580027"/>
          </a:xfrm>
        </p:grpSpPr>
        <p:sp>
          <p:nvSpPr>
            <p:cNvPr id="37" name="TextBox 36"/>
            <p:cNvSpPr txBox="1"/>
            <p:nvPr/>
          </p:nvSpPr>
          <p:spPr>
            <a:xfrm>
              <a:off x="3999385" y="2749201"/>
              <a:ext cx="1276790" cy="1179863"/>
            </a:xfrm>
            <a:prstGeom prst="rect">
              <a:avLst/>
            </a:prstGeom>
            <a:solidFill>
              <a:schemeClr val="bg1"/>
            </a:solidFill>
            <a:ln w="12700">
              <a:solidFill>
                <a:schemeClr val="accent1">
                  <a:lumMod val="75000"/>
                </a:schemeClr>
              </a:solidFill>
            </a:ln>
          </p:spPr>
          <p:txBody>
            <a:bodyPr wrap="square" rtlCol="0">
              <a:noAutofit/>
            </a:bodyPr>
            <a:lstStyle/>
            <a:p>
              <a:pPr algn="ctr"/>
              <a:r>
                <a:rPr lang="ru-RU" sz="1200" b="1" dirty="0" err="1">
                  <a:latin typeface="Century Gothic" panose="020B0502020202020204" pitchFamily="34" charset="0"/>
                </a:rPr>
                <a:t>Табиғи</a:t>
              </a:r>
              <a:r>
                <a:rPr lang="ru-RU" sz="1200" b="1" dirty="0">
                  <a:latin typeface="Century Gothic" panose="020B0502020202020204" pitchFamily="34" charset="0"/>
                </a:rPr>
                <a:t> </a:t>
              </a:r>
              <a:r>
                <a:rPr lang="ru-RU" sz="1200" b="1" dirty="0" err="1">
                  <a:latin typeface="Century Gothic" panose="020B0502020202020204" pitchFamily="34" charset="0"/>
                </a:rPr>
                <a:t>монополиялар</a:t>
              </a:r>
              <a:r>
                <a:rPr lang="ru-RU" sz="1200" b="1" dirty="0">
                  <a:latin typeface="Century Gothic" panose="020B0502020202020204" pitchFamily="34" charset="0"/>
                </a:rPr>
                <a:t> </a:t>
              </a:r>
              <a:r>
                <a:rPr lang="ru-RU" sz="1200" b="1" dirty="0" err="1" smtClean="0">
                  <a:latin typeface="Century Gothic" panose="020B0502020202020204" pitchFamily="34" charset="0"/>
                </a:rPr>
                <a:t>субъектісі</a:t>
              </a:r>
              <a:endParaRPr lang="ru-RU" sz="1200" b="1" dirty="0" smtClean="0">
                <a:latin typeface="Century Gothic" panose="020B0502020202020204" pitchFamily="34" charset="0"/>
              </a:endParaRPr>
            </a:p>
            <a:p>
              <a:pPr algn="ctr"/>
              <a:endParaRPr lang="ru-RU" sz="1000" dirty="0" smtClean="0">
                <a:latin typeface="Century Gothic" panose="020B0502020202020204" pitchFamily="34" charset="0"/>
              </a:endParaRPr>
            </a:p>
            <a:p>
              <a:pPr algn="ctr"/>
              <a:r>
                <a:rPr lang="ru-RU" sz="1000" dirty="0" err="1" smtClean="0">
                  <a:latin typeface="Century Gothic" panose="020B0502020202020204" pitchFamily="34" charset="0"/>
                </a:rPr>
                <a:t>Тұтыну</a:t>
              </a:r>
              <a:r>
                <a:rPr lang="ru-RU" sz="1000" dirty="0" smtClean="0">
                  <a:latin typeface="Century Gothic" panose="020B0502020202020204" pitchFamily="34" charset="0"/>
                </a:rPr>
                <a:t> </a:t>
              </a:r>
              <a:r>
                <a:rPr lang="ru-RU" sz="1000" dirty="0" err="1">
                  <a:latin typeface="Century Gothic" panose="020B0502020202020204" pitchFamily="34" charset="0"/>
                </a:rPr>
                <a:t>негізінде</a:t>
              </a:r>
              <a:r>
                <a:rPr lang="ru-RU" sz="1000" dirty="0">
                  <a:latin typeface="Century Gothic" panose="020B0502020202020204" pitchFamily="34" charset="0"/>
                </a:rPr>
                <a:t> </a:t>
              </a:r>
              <a:r>
                <a:rPr lang="ru-RU" sz="1000" dirty="0" err="1">
                  <a:latin typeface="Century Gothic" panose="020B0502020202020204" pitchFamily="34" charset="0"/>
                </a:rPr>
                <a:t>энергоресурстарды</a:t>
              </a:r>
              <a:r>
                <a:rPr lang="ru-RU" sz="1000" dirty="0">
                  <a:latin typeface="Century Gothic" panose="020B0502020202020204" pitchFamily="34" charset="0"/>
                </a:rPr>
                <a:t> </a:t>
              </a:r>
              <a:r>
                <a:rPr lang="ru-RU" sz="1000" dirty="0" err="1">
                  <a:latin typeface="Century Gothic" panose="020B0502020202020204" pitchFamily="34" charset="0"/>
                </a:rPr>
                <a:t>өндіруді</a:t>
              </a:r>
              <a:r>
                <a:rPr lang="ru-RU" sz="1000" dirty="0">
                  <a:latin typeface="Century Gothic" panose="020B0502020202020204" pitchFamily="34" charset="0"/>
                </a:rPr>
                <a:t> </a:t>
              </a:r>
              <a:r>
                <a:rPr lang="ru-RU" sz="1000" dirty="0" err="1">
                  <a:latin typeface="Century Gothic" panose="020B0502020202020204" pitchFamily="34" charset="0"/>
                </a:rPr>
                <a:t>жоспарлау</a:t>
              </a:r>
              <a:r>
                <a:rPr lang="ru-RU" sz="1000" dirty="0">
                  <a:latin typeface="Century Gothic" panose="020B0502020202020204" pitchFamily="34" charset="0"/>
                </a:rPr>
                <a:t>   </a:t>
              </a:r>
            </a:p>
          </p:txBody>
        </p:sp>
        <p:sp>
          <p:nvSpPr>
            <p:cNvPr id="75" name="TextBox 74"/>
            <p:cNvSpPr txBox="1"/>
            <p:nvPr/>
          </p:nvSpPr>
          <p:spPr>
            <a:xfrm>
              <a:off x="3999385" y="3936936"/>
              <a:ext cx="1276790" cy="392292"/>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900" b="1" dirty="0" err="1">
                  <a:latin typeface="Century Gothic" panose="020B0502020202020204" pitchFamily="34" charset="0"/>
                </a:rPr>
                <a:t>Қызметті</a:t>
              </a:r>
              <a:r>
                <a:rPr lang="ru-RU" sz="900" b="1" dirty="0">
                  <a:latin typeface="Century Gothic" panose="020B0502020202020204" pitchFamily="34" charset="0"/>
                </a:rPr>
                <a:t> </a:t>
              </a:r>
              <a:r>
                <a:rPr lang="ru-RU" sz="900" b="1" dirty="0" err="1">
                  <a:latin typeface="Century Gothic" panose="020B0502020202020204" pitchFamily="34" charset="0"/>
                </a:rPr>
                <a:t>автоматтандыру</a:t>
              </a:r>
              <a:r>
                <a:rPr lang="ru-RU" sz="900" b="1" dirty="0">
                  <a:latin typeface="Century Gothic" panose="020B0502020202020204" pitchFamily="34" charset="0"/>
                </a:rPr>
                <a:t> </a:t>
              </a:r>
            </a:p>
          </p:txBody>
        </p:sp>
      </p:grpSp>
      <p:grpSp>
        <p:nvGrpSpPr>
          <p:cNvPr id="7" name="Группа 6"/>
          <p:cNvGrpSpPr/>
          <p:nvPr/>
        </p:nvGrpSpPr>
        <p:grpSpPr>
          <a:xfrm>
            <a:off x="5576377" y="2427075"/>
            <a:ext cx="1394440" cy="1978689"/>
            <a:chOff x="5305326" y="2749201"/>
            <a:chExt cx="1283349" cy="1581926"/>
          </a:xfrm>
        </p:grpSpPr>
        <p:sp>
          <p:nvSpPr>
            <p:cNvPr id="38" name="TextBox 37"/>
            <p:cNvSpPr txBox="1"/>
            <p:nvPr/>
          </p:nvSpPr>
          <p:spPr>
            <a:xfrm>
              <a:off x="5311885" y="2749201"/>
              <a:ext cx="1276790" cy="1179863"/>
            </a:xfrm>
            <a:prstGeom prst="rect">
              <a:avLst/>
            </a:prstGeom>
            <a:solidFill>
              <a:schemeClr val="bg1"/>
            </a:solidFill>
            <a:ln w="12700">
              <a:solidFill>
                <a:schemeClr val="accent1">
                  <a:lumMod val="75000"/>
                </a:schemeClr>
              </a:solidFill>
            </a:ln>
          </p:spPr>
          <p:txBody>
            <a:bodyPr wrap="square" rtlCol="0">
              <a:noAutofit/>
            </a:bodyPr>
            <a:lstStyle/>
            <a:p>
              <a:pPr algn="ctr"/>
              <a:r>
                <a:rPr lang="ru-RU" sz="1100" b="1" dirty="0" err="1">
                  <a:latin typeface="Century Gothic" panose="020B0502020202020204" pitchFamily="34" charset="0"/>
                </a:rPr>
                <a:t>Жергілікті</a:t>
              </a:r>
              <a:r>
                <a:rPr lang="ru-RU" sz="1100" b="1" dirty="0">
                  <a:latin typeface="Century Gothic" panose="020B0502020202020204" pitchFamily="34" charset="0"/>
                </a:rPr>
                <a:t> </a:t>
              </a:r>
              <a:r>
                <a:rPr lang="ru-RU" sz="1100" b="1" dirty="0" err="1">
                  <a:latin typeface="Century Gothic" panose="020B0502020202020204" pitchFamily="34" charset="0"/>
                </a:rPr>
                <a:t>атқарушы</a:t>
              </a:r>
              <a:r>
                <a:rPr lang="ru-RU" sz="1100" b="1" dirty="0">
                  <a:latin typeface="Century Gothic" panose="020B0502020202020204" pitchFamily="34" charset="0"/>
                </a:rPr>
                <a:t> </a:t>
              </a:r>
              <a:r>
                <a:rPr lang="ru-RU" sz="1100" b="1" dirty="0" err="1">
                  <a:latin typeface="Century Gothic" panose="020B0502020202020204" pitchFamily="34" charset="0"/>
                </a:rPr>
                <a:t>органдар</a:t>
              </a:r>
              <a:endParaRPr lang="ru-RU" sz="1100" b="1" dirty="0">
                <a:latin typeface="Century Gothic" panose="020B0502020202020204" pitchFamily="34" charset="0"/>
              </a:endParaRPr>
            </a:p>
            <a:p>
              <a:pPr algn="ctr"/>
              <a:endParaRPr lang="ru-RU" sz="1000" dirty="0" smtClean="0">
                <a:latin typeface="Century Gothic" panose="020B0502020202020204" pitchFamily="34" charset="0"/>
              </a:endParaRPr>
            </a:p>
            <a:p>
              <a:pPr algn="ctr"/>
              <a:r>
                <a:rPr lang="ru-RU" sz="1000" dirty="0" err="1" smtClean="0">
                  <a:latin typeface="Century Gothic" panose="020B0502020202020204" pitchFamily="34" charset="0"/>
                </a:rPr>
                <a:t>Саланы</a:t>
              </a:r>
              <a:r>
                <a:rPr lang="ru-RU" sz="1000" dirty="0" smtClean="0">
                  <a:latin typeface="Century Gothic" panose="020B0502020202020204" pitchFamily="34" charset="0"/>
                </a:rPr>
                <a:t> </a:t>
              </a:r>
              <a:r>
                <a:rPr lang="ru-RU" sz="1000" dirty="0" err="1">
                  <a:latin typeface="Century Gothic" panose="020B0502020202020204" pitchFamily="34" charset="0"/>
                </a:rPr>
                <a:t>дамыту</a:t>
              </a:r>
              <a:r>
                <a:rPr lang="ru-RU" sz="1000" dirty="0">
                  <a:latin typeface="Century Gothic" panose="020B0502020202020204" pitchFamily="34" charset="0"/>
                </a:rPr>
                <a:t> </a:t>
              </a:r>
              <a:r>
                <a:rPr lang="ru-RU" sz="1000" dirty="0" err="1">
                  <a:latin typeface="Century Gothic" panose="020B0502020202020204" pitchFamily="34" charset="0"/>
                </a:rPr>
                <a:t>және</a:t>
              </a:r>
              <a:r>
                <a:rPr lang="ru-RU" sz="1000" dirty="0">
                  <a:latin typeface="Century Gothic" panose="020B0502020202020204" pitchFamily="34" charset="0"/>
                </a:rPr>
                <a:t> </a:t>
              </a:r>
              <a:r>
                <a:rPr lang="ru-RU" sz="1000" dirty="0" err="1">
                  <a:latin typeface="Century Gothic" panose="020B0502020202020204" pitchFamily="34" charset="0"/>
                </a:rPr>
                <a:t>өңірлерде</a:t>
              </a:r>
              <a:r>
                <a:rPr lang="ru-RU" sz="1000" dirty="0">
                  <a:latin typeface="Century Gothic" panose="020B0502020202020204" pitchFamily="34" charset="0"/>
                </a:rPr>
                <a:t> </a:t>
              </a:r>
              <a:r>
                <a:rPr lang="ru-RU" sz="1000" dirty="0" err="1">
                  <a:latin typeface="Century Gothic" panose="020B0502020202020204" pitchFamily="34" charset="0"/>
                </a:rPr>
                <a:t>жаңғырту</a:t>
              </a:r>
              <a:r>
                <a:rPr lang="ru-RU" sz="1000" dirty="0">
                  <a:latin typeface="Century Gothic" panose="020B0502020202020204" pitchFamily="34" charset="0"/>
                </a:rPr>
                <a:t> </a:t>
              </a:r>
              <a:r>
                <a:rPr lang="ru-RU" sz="1000" dirty="0" err="1">
                  <a:latin typeface="Century Gothic" panose="020B0502020202020204" pitchFamily="34" charset="0"/>
                </a:rPr>
                <a:t>жұмыстарын</a:t>
              </a:r>
              <a:r>
                <a:rPr lang="ru-RU" sz="1000" dirty="0">
                  <a:latin typeface="Century Gothic" panose="020B0502020202020204" pitchFamily="34" charset="0"/>
                </a:rPr>
                <a:t> </a:t>
              </a:r>
              <a:r>
                <a:rPr lang="ru-RU" sz="1000" dirty="0" err="1">
                  <a:latin typeface="Century Gothic" panose="020B0502020202020204" pitchFamily="34" charset="0"/>
                </a:rPr>
                <a:t>жүргізу</a:t>
              </a:r>
              <a:r>
                <a:rPr lang="ru-RU" sz="1000" dirty="0">
                  <a:latin typeface="Century Gothic" panose="020B0502020202020204" pitchFamily="34" charset="0"/>
                </a:rPr>
                <a:t> </a:t>
              </a:r>
            </a:p>
            <a:p>
              <a:pPr algn="ctr"/>
              <a:endParaRPr lang="ru-RU" sz="900" b="1" dirty="0">
                <a:latin typeface="Century Gothic" panose="020B0502020202020204" pitchFamily="34" charset="0"/>
              </a:endParaRPr>
            </a:p>
          </p:txBody>
        </p:sp>
        <p:sp>
          <p:nvSpPr>
            <p:cNvPr id="76" name="TextBox 75"/>
            <p:cNvSpPr txBox="1"/>
            <p:nvPr/>
          </p:nvSpPr>
          <p:spPr>
            <a:xfrm>
              <a:off x="5305326" y="3938835"/>
              <a:ext cx="1276790" cy="392292"/>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900" b="1" dirty="0" err="1">
                  <a:latin typeface="Century Gothic" panose="020B0502020202020204" pitchFamily="34" charset="0"/>
                </a:rPr>
                <a:t>Уақытылы</a:t>
              </a:r>
              <a:endParaRPr lang="ru-RU" sz="900" b="1" dirty="0">
                <a:latin typeface="Century Gothic" panose="020B0502020202020204" pitchFamily="34" charset="0"/>
              </a:endParaRPr>
            </a:p>
            <a:p>
              <a:pPr algn="ctr"/>
              <a:r>
                <a:rPr lang="ru-RU" sz="900" b="1" dirty="0">
                  <a:latin typeface="Century Gothic" panose="020B0502020202020204" pitchFamily="34" charset="0"/>
                </a:rPr>
                <a:t> </a:t>
              </a:r>
              <a:r>
                <a:rPr lang="ru-RU" sz="900" b="1" dirty="0" err="1">
                  <a:latin typeface="Century Gothic" panose="020B0502020202020204" pitchFamily="34" charset="0"/>
                </a:rPr>
                <a:t>бақылау</a:t>
              </a:r>
              <a:r>
                <a:rPr lang="ru-RU" sz="900" b="1" dirty="0">
                  <a:latin typeface="Century Gothic" panose="020B0502020202020204" pitchFamily="34" charset="0"/>
                </a:rPr>
                <a:t> </a:t>
              </a:r>
            </a:p>
          </p:txBody>
        </p:sp>
      </p:grpSp>
      <p:grpSp>
        <p:nvGrpSpPr>
          <p:cNvPr id="6" name="Группа 5"/>
          <p:cNvGrpSpPr/>
          <p:nvPr/>
        </p:nvGrpSpPr>
        <p:grpSpPr>
          <a:xfrm>
            <a:off x="7227649" y="2422799"/>
            <a:ext cx="1393838" cy="1982965"/>
            <a:chOff x="6617825" y="2749201"/>
            <a:chExt cx="1283350" cy="1581928"/>
          </a:xfrm>
        </p:grpSpPr>
        <p:sp>
          <p:nvSpPr>
            <p:cNvPr id="39" name="TextBox 38"/>
            <p:cNvSpPr txBox="1"/>
            <p:nvPr/>
          </p:nvSpPr>
          <p:spPr>
            <a:xfrm>
              <a:off x="6624385" y="2749201"/>
              <a:ext cx="1276790" cy="1179863"/>
            </a:xfrm>
            <a:prstGeom prst="rect">
              <a:avLst/>
            </a:prstGeom>
            <a:solidFill>
              <a:schemeClr val="bg1"/>
            </a:solidFill>
            <a:ln w="12700">
              <a:solidFill>
                <a:schemeClr val="accent1">
                  <a:lumMod val="75000"/>
                </a:schemeClr>
              </a:solidFill>
            </a:ln>
          </p:spPr>
          <p:txBody>
            <a:bodyPr wrap="square" rtlCol="0">
              <a:noAutofit/>
            </a:bodyPr>
            <a:lstStyle/>
            <a:p>
              <a:pPr algn="ctr"/>
              <a:r>
                <a:rPr lang="ru-RU" sz="1200" b="1" dirty="0">
                  <a:latin typeface="Century Gothic" panose="020B0502020202020204" pitchFamily="34" charset="0"/>
                </a:rPr>
                <a:t>ТКШ </a:t>
              </a:r>
              <a:r>
                <a:rPr lang="ru-RU" sz="1200" b="1" dirty="0" err="1">
                  <a:latin typeface="Century Gothic" panose="020B0502020202020204" pitchFamily="34" charset="0"/>
                </a:rPr>
                <a:t>саласындағы</a:t>
              </a:r>
              <a:r>
                <a:rPr lang="ru-RU" sz="1200" b="1" dirty="0">
                  <a:latin typeface="Century Gothic" panose="020B0502020202020204" pitchFamily="34" charset="0"/>
                </a:rPr>
                <a:t> </a:t>
              </a:r>
              <a:r>
                <a:rPr lang="ru-RU" sz="1200" b="1" dirty="0" err="1">
                  <a:latin typeface="Century Gothic" panose="020B0502020202020204" pitchFamily="34" charset="0"/>
                </a:rPr>
                <a:t>уәкілетті</a:t>
              </a:r>
              <a:r>
                <a:rPr lang="ru-RU" sz="1200" b="1" dirty="0">
                  <a:latin typeface="Century Gothic" panose="020B0502020202020204" pitchFamily="34" charset="0"/>
                </a:rPr>
                <a:t> орган</a:t>
              </a:r>
            </a:p>
            <a:p>
              <a:pPr algn="ctr"/>
              <a:endParaRPr lang="ru-RU" sz="1000" dirty="0" smtClean="0">
                <a:latin typeface="Century Gothic" panose="020B0502020202020204" pitchFamily="34" charset="0"/>
              </a:endParaRPr>
            </a:p>
            <a:p>
              <a:pPr algn="ctr"/>
              <a:r>
                <a:rPr lang="ru-RU" sz="1000" dirty="0" err="1" smtClean="0">
                  <a:latin typeface="Century Gothic" panose="020B0502020202020204" pitchFamily="34" charset="0"/>
                </a:rPr>
                <a:t>Басқару</a:t>
              </a:r>
              <a:r>
                <a:rPr lang="ru-RU" sz="1000" dirty="0" smtClean="0">
                  <a:latin typeface="Century Gothic" panose="020B0502020202020204" pitchFamily="34" charset="0"/>
                </a:rPr>
                <a:t> </a:t>
              </a:r>
              <a:r>
                <a:rPr lang="ru-RU" sz="1000" dirty="0" err="1">
                  <a:latin typeface="Century Gothic" panose="020B0502020202020204" pitchFamily="34" charset="0"/>
                </a:rPr>
                <a:t>шешімдерін</a:t>
              </a:r>
              <a:r>
                <a:rPr lang="ru-RU" sz="1000" dirty="0">
                  <a:latin typeface="Century Gothic" panose="020B0502020202020204" pitchFamily="34" charset="0"/>
                </a:rPr>
                <a:t> </a:t>
              </a:r>
              <a:r>
                <a:rPr lang="ru-RU" sz="1000" dirty="0" err="1">
                  <a:latin typeface="Century Gothic" panose="020B0502020202020204" pitchFamily="34" charset="0"/>
                </a:rPr>
                <a:t>қабылдау</a:t>
              </a:r>
              <a:r>
                <a:rPr lang="ru-RU" sz="1000" dirty="0">
                  <a:latin typeface="Century Gothic" panose="020B0502020202020204" pitchFamily="34" charset="0"/>
                </a:rPr>
                <a:t> </a:t>
              </a:r>
              <a:r>
                <a:rPr lang="ru-RU" sz="1000" dirty="0" err="1">
                  <a:latin typeface="Century Gothic" panose="020B0502020202020204" pitchFamily="34" charset="0"/>
                </a:rPr>
                <a:t>және</a:t>
              </a:r>
              <a:r>
                <a:rPr lang="ru-RU" sz="1000" dirty="0">
                  <a:latin typeface="Century Gothic" panose="020B0502020202020204" pitchFamily="34" charset="0"/>
                </a:rPr>
                <a:t> ТКШ </a:t>
              </a:r>
              <a:r>
                <a:rPr lang="ru-RU" sz="1000" dirty="0" err="1">
                  <a:latin typeface="Century Gothic" panose="020B0502020202020204" pitchFamily="34" charset="0"/>
                </a:rPr>
                <a:t>саласының</a:t>
              </a:r>
              <a:r>
                <a:rPr lang="ru-RU" sz="1000" dirty="0">
                  <a:latin typeface="Century Gothic" panose="020B0502020202020204" pitchFamily="34" charset="0"/>
                </a:rPr>
                <a:t> </a:t>
              </a:r>
              <a:r>
                <a:rPr lang="ru-RU" sz="1000" dirty="0" err="1">
                  <a:latin typeface="Century Gothic" panose="020B0502020202020204" pitchFamily="34" charset="0"/>
                </a:rPr>
                <a:t>саясатын</a:t>
              </a:r>
              <a:r>
                <a:rPr lang="ru-RU" sz="1000" dirty="0">
                  <a:latin typeface="Century Gothic" panose="020B0502020202020204" pitchFamily="34" charset="0"/>
                </a:rPr>
                <a:t> </a:t>
              </a:r>
              <a:r>
                <a:rPr lang="ru-RU" sz="1000" dirty="0" err="1">
                  <a:latin typeface="Century Gothic" panose="020B0502020202020204" pitchFamily="34" charset="0"/>
                </a:rPr>
                <a:t>құру</a:t>
              </a:r>
              <a:r>
                <a:rPr lang="ru-RU" sz="1000" dirty="0">
                  <a:latin typeface="Century Gothic" panose="020B0502020202020204" pitchFamily="34" charset="0"/>
                </a:rPr>
                <a:t> </a:t>
              </a:r>
            </a:p>
          </p:txBody>
        </p:sp>
        <p:sp>
          <p:nvSpPr>
            <p:cNvPr id="77" name="TextBox 76"/>
            <p:cNvSpPr txBox="1"/>
            <p:nvPr/>
          </p:nvSpPr>
          <p:spPr>
            <a:xfrm>
              <a:off x="6617825" y="3938836"/>
              <a:ext cx="1283350" cy="392293"/>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800" b="1" dirty="0">
                  <a:latin typeface="Century Gothic" panose="020B0502020202020204" pitchFamily="34" charset="0"/>
                </a:rPr>
                <a:t>ТКШ </a:t>
              </a:r>
              <a:r>
                <a:rPr lang="ru-RU" sz="800" b="1" dirty="0" err="1">
                  <a:latin typeface="Century Gothic" panose="020B0502020202020204" pitchFamily="34" charset="0"/>
                </a:rPr>
                <a:t>трансформациясы</a:t>
              </a:r>
              <a:r>
                <a:rPr lang="ru-RU" sz="800" b="1" dirty="0">
                  <a:latin typeface="Century Gothic" panose="020B0502020202020204" pitchFamily="34" charset="0"/>
                </a:rPr>
                <a:t> </a:t>
              </a:r>
            </a:p>
          </p:txBody>
        </p:sp>
      </p:grpSp>
      <p:sp>
        <p:nvSpPr>
          <p:cNvPr id="25" name="Прямоугольник 24"/>
          <p:cNvSpPr/>
          <p:nvPr/>
        </p:nvSpPr>
        <p:spPr>
          <a:xfrm>
            <a:off x="0" y="8802"/>
            <a:ext cx="9144000" cy="338554"/>
          </a:xfrm>
          <a:prstGeom prst="rect">
            <a:avLst/>
          </a:prstGeom>
          <a:solidFill>
            <a:srgbClr val="0070C0"/>
          </a:solidFill>
          <a:effectLst/>
        </p:spPr>
        <p:txBody>
          <a:bodyPr wrap="square" lIns="91440" tIns="45720" rIns="91440" bIns="45720">
            <a:spAutoFit/>
          </a:bodyPr>
          <a:lstStyle/>
          <a:p>
            <a:pPr algn="ctr"/>
            <a:r>
              <a:rPr lang="en-US" sz="1600" b="1" dirty="0" smtClean="0">
                <a:ln w="0"/>
                <a:solidFill>
                  <a:prstClr val="white"/>
                </a:solidFill>
                <a:latin typeface="Arial Narrow" pitchFamily="34" charset="0"/>
              </a:rPr>
              <a:t>IV</a:t>
            </a:r>
            <a:r>
              <a:rPr lang="ru-RU" sz="1600" b="1" dirty="0">
                <a:ln w="0"/>
                <a:solidFill>
                  <a:prstClr val="white"/>
                </a:solidFill>
                <a:latin typeface="Arial Narrow" pitchFamily="34" charset="0"/>
              </a:rPr>
              <a:t> </a:t>
            </a:r>
            <a:r>
              <a:rPr lang="ru-RU" sz="1600" b="1" dirty="0" smtClean="0">
                <a:ln w="0"/>
                <a:solidFill>
                  <a:prstClr val="white"/>
                </a:solidFill>
                <a:latin typeface="Arial Narrow" pitchFamily="34" charset="0"/>
              </a:rPr>
              <a:t>– ТҰРҒЫН-ҮЙ ҚОРЫ МЕН ТКШ БІРЫҢҒАЙ АҚПАРАТТЫҚ ЖҮЙЕСІ</a:t>
            </a:r>
            <a:endParaRPr lang="ru-RU" sz="1600" b="1" dirty="0">
              <a:ln w="0"/>
              <a:solidFill>
                <a:prstClr val="white"/>
              </a:solidFill>
              <a:latin typeface="Arial Narrow" pitchFamily="34" charset="0"/>
            </a:endParaRPr>
          </a:p>
        </p:txBody>
      </p:sp>
      <p:sp>
        <p:nvSpPr>
          <p:cNvPr id="19" name="Прямоугольник 18"/>
          <p:cNvSpPr/>
          <p:nvPr/>
        </p:nvSpPr>
        <p:spPr>
          <a:xfrm>
            <a:off x="1571136" y="1361889"/>
            <a:ext cx="6000412" cy="461665"/>
          </a:xfrm>
          <a:prstGeom prst="rect">
            <a:avLst/>
          </a:prstGeom>
          <a:solidFill>
            <a:srgbClr val="B9CDE5">
              <a:alpha val="49804"/>
            </a:srgbClr>
          </a:solidFill>
          <a:ln>
            <a:solidFill>
              <a:schemeClr val="accent1">
                <a:lumMod val="40000"/>
                <a:lumOff val="60000"/>
              </a:schemeClr>
            </a:solidFill>
          </a:ln>
          <a:effectLst/>
        </p:spPr>
        <p:txBody>
          <a:bodyPr wrap="square">
            <a:spAutoFit/>
          </a:bodyPr>
          <a:lstStyle/>
          <a:p>
            <a:pPr algn="ctr"/>
            <a:r>
              <a:rPr lang="ru-RU" sz="2400" b="1" dirty="0">
                <a:latin typeface="Century Gothic" panose="020B0502020202020204" pitchFamily="34" charset="0"/>
                <a:sym typeface="Arial"/>
              </a:rPr>
              <a:t>ТКШ </a:t>
            </a:r>
            <a:r>
              <a:rPr lang="ru-RU" sz="2400" b="1" dirty="0" err="1">
                <a:latin typeface="Century Gothic" panose="020B0502020202020204" pitchFamily="34" charset="0"/>
                <a:sym typeface="Arial"/>
              </a:rPr>
              <a:t>Ұлттық</a:t>
            </a:r>
            <a:r>
              <a:rPr lang="ru-RU" sz="2400" b="1" dirty="0">
                <a:latin typeface="Century Gothic" panose="020B0502020202020204" pitchFamily="34" charset="0"/>
                <a:sym typeface="Arial"/>
              </a:rPr>
              <a:t> </a:t>
            </a:r>
            <a:r>
              <a:rPr lang="ru-RU" sz="2400" b="1" dirty="0" err="1">
                <a:latin typeface="Century Gothic" panose="020B0502020202020204" pitchFamily="34" charset="0"/>
                <a:sym typeface="Arial"/>
              </a:rPr>
              <a:t>цифрлық</a:t>
            </a:r>
            <a:r>
              <a:rPr lang="ru-RU" sz="2400" b="1" dirty="0">
                <a:latin typeface="Century Gothic" panose="020B0502020202020204" pitchFamily="34" charset="0"/>
                <a:sym typeface="Arial"/>
              </a:rPr>
              <a:t> </a:t>
            </a:r>
            <a:r>
              <a:rPr lang="ru-RU" sz="2400" b="1" dirty="0" err="1">
                <a:latin typeface="Century Gothic" panose="020B0502020202020204" pitchFamily="34" charset="0"/>
                <a:sym typeface="Arial"/>
              </a:rPr>
              <a:t>платформасы</a:t>
            </a:r>
            <a:endParaRPr lang="ru-RU" sz="2400" b="1" dirty="0">
              <a:latin typeface="Century Gothic" panose="020B0502020202020204" pitchFamily="34" charset="0"/>
            </a:endParaRPr>
          </a:p>
        </p:txBody>
      </p:sp>
      <p:cxnSp>
        <p:nvCxnSpPr>
          <p:cNvPr id="42" name="Прямая соединительная линия 41"/>
          <p:cNvCxnSpPr/>
          <p:nvPr/>
        </p:nvCxnSpPr>
        <p:spPr>
          <a:xfrm flipH="1" flipV="1">
            <a:off x="4563441" y="2239430"/>
            <a:ext cx="2" cy="181129"/>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p:cNvCxnSpPr/>
          <p:nvPr/>
        </p:nvCxnSpPr>
        <p:spPr>
          <a:xfrm flipH="1" flipV="1">
            <a:off x="1274896" y="2240590"/>
            <a:ext cx="2" cy="181129"/>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45"/>
          <p:cNvCxnSpPr/>
          <p:nvPr/>
        </p:nvCxnSpPr>
        <p:spPr>
          <a:xfrm flipH="1" flipV="1">
            <a:off x="2928917" y="2241671"/>
            <a:ext cx="2" cy="181129"/>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flipH="1" flipV="1">
            <a:off x="7873408" y="2234675"/>
            <a:ext cx="2" cy="181129"/>
          </a:xfrm>
          <a:prstGeom prst="line">
            <a:avLst/>
          </a:prstGeom>
        </p:spPr>
        <p:style>
          <a:lnRef idx="1">
            <a:schemeClr val="accent1"/>
          </a:lnRef>
          <a:fillRef idx="0">
            <a:schemeClr val="accent1"/>
          </a:fillRef>
          <a:effectRef idx="0">
            <a:schemeClr val="accent1"/>
          </a:effectRef>
          <a:fontRef idx="minor">
            <a:schemeClr val="tx1"/>
          </a:fontRef>
        </p:style>
      </p:cxnSp>
      <p:sp>
        <p:nvSpPr>
          <p:cNvPr id="29" name="Стрелка вправо 28"/>
          <p:cNvSpPr/>
          <p:nvPr/>
        </p:nvSpPr>
        <p:spPr>
          <a:xfrm>
            <a:off x="631685" y="4663675"/>
            <a:ext cx="4879325" cy="1152525"/>
          </a:xfrm>
          <a:prstGeom prst="rightArrow">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smtClean="0">
              <a:latin typeface="Arial" pitchFamily="34" charset="0"/>
              <a:cs typeface="Arial" pitchFamily="34" charset="0"/>
            </a:endParaRPr>
          </a:p>
          <a:p>
            <a:pPr lvl="0" algn="ctr"/>
            <a:endParaRPr lang="ru-RU" dirty="0" smtClean="0">
              <a:solidFill>
                <a:schemeClr val="tx1"/>
              </a:solidFill>
              <a:latin typeface="Arial" pitchFamily="34" charset="0"/>
              <a:cs typeface="Arial" pitchFamily="34" charset="0"/>
            </a:endParaRPr>
          </a:p>
          <a:p>
            <a:pPr lvl="0" algn="ctr"/>
            <a:r>
              <a:rPr lang="ru-RU" dirty="0" smtClean="0">
                <a:solidFill>
                  <a:schemeClr val="tx1"/>
                </a:solidFill>
                <a:latin typeface="Arial" pitchFamily="34" charset="0"/>
                <a:cs typeface="Arial" pitchFamily="34" charset="0"/>
              </a:rPr>
              <a:t>2018 </a:t>
            </a:r>
            <a:r>
              <a:rPr lang="ru-RU" dirty="0" err="1" smtClean="0">
                <a:solidFill>
                  <a:schemeClr val="tx1"/>
                </a:solidFill>
                <a:latin typeface="Arial" pitchFamily="34" charset="0"/>
                <a:cs typeface="Arial" pitchFamily="34" charset="0"/>
              </a:rPr>
              <a:t>жылдың</a:t>
            </a:r>
            <a:r>
              <a:rPr lang="ru-RU" dirty="0" smtClean="0">
                <a:solidFill>
                  <a:schemeClr val="tx1"/>
                </a:solidFill>
                <a:latin typeface="Arial" pitchFamily="34" charset="0"/>
                <a:cs typeface="Arial" pitchFamily="34" charset="0"/>
              </a:rPr>
              <a:t> </a:t>
            </a:r>
            <a:r>
              <a:rPr lang="ru-RU" dirty="0" err="1" smtClean="0">
                <a:solidFill>
                  <a:schemeClr val="tx1"/>
                </a:solidFill>
                <a:latin typeface="Arial" pitchFamily="34" charset="0"/>
                <a:cs typeface="Arial" pitchFamily="34" charset="0"/>
              </a:rPr>
              <a:t>соңына</a:t>
            </a:r>
            <a:r>
              <a:rPr lang="ru-RU" dirty="0" smtClean="0">
                <a:solidFill>
                  <a:schemeClr val="tx1"/>
                </a:solidFill>
                <a:latin typeface="Arial" pitchFamily="34" charset="0"/>
                <a:cs typeface="Arial" pitchFamily="34" charset="0"/>
              </a:rPr>
              <a:t> </a:t>
            </a:r>
            <a:r>
              <a:rPr lang="ru-RU" dirty="0" err="1" smtClean="0">
                <a:solidFill>
                  <a:schemeClr val="tx1"/>
                </a:solidFill>
                <a:latin typeface="Arial" pitchFamily="34" charset="0"/>
                <a:cs typeface="Arial" pitchFamily="34" charset="0"/>
              </a:rPr>
              <a:t>дейін</a:t>
            </a:r>
            <a:r>
              <a:rPr lang="ru-RU" dirty="0" smtClean="0">
                <a:solidFill>
                  <a:schemeClr val="tx1"/>
                </a:solidFill>
                <a:latin typeface="Arial" pitchFamily="34" charset="0"/>
                <a:cs typeface="Arial" pitchFamily="34" charset="0"/>
              </a:rPr>
              <a:t> </a:t>
            </a:r>
            <a:r>
              <a:rPr lang="ru-RU" dirty="0" err="1" smtClean="0">
                <a:solidFill>
                  <a:schemeClr val="tx1"/>
                </a:solidFill>
                <a:latin typeface="Arial" pitchFamily="34" charset="0"/>
                <a:cs typeface="Arial" pitchFamily="34" charset="0"/>
              </a:rPr>
              <a:t>жүйеге</a:t>
            </a:r>
            <a:r>
              <a:rPr lang="ru-RU" dirty="0" smtClean="0">
                <a:solidFill>
                  <a:schemeClr val="tx1"/>
                </a:solidFill>
                <a:latin typeface="Arial" pitchFamily="34" charset="0"/>
                <a:cs typeface="Arial" pitchFamily="34" charset="0"/>
              </a:rPr>
              <a:t> </a:t>
            </a:r>
            <a:r>
              <a:rPr lang="ru-RU" dirty="0" err="1" smtClean="0">
                <a:solidFill>
                  <a:schemeClr val="tx1"/>
                </a:solidFill>
                <a:latin typeface="Arial" pitchFamily="34" charset="0"/>
                <a:cs typeface="Arial" pitchFamily="34" charset="0"/>
              </a:rPr>
              <a:t>пилоттық</a:t>
            </a:r>
            <a:r>
              <a:rPr lang="ru-RU" dirty="0" smtClean="0">
                <a:solidFill>
                  <a:schemeClr val="tx1"/>
                </a:solidFill>
                <a:latin typeface="Arial" pitchFamily="34" charset="0"/>
                <a:cs typeface="Arial" pitchFamily="34" charset="0"/>
              </a:rPr>
              <a:t> </a:t>
            </a:r>
            <a:r>
              <a:rPr lang="ru-RU" dirty="0" err="1" smtClean="0">
                <a:solidFill>
                  <a:schemeClr val="tx1"/>
                </a:solidFill>
                <a:latin typeface="Arial" pitchFamily="34" charset="0"/>
                <a:cs typeface="Arial" pitchFamily="34" charset="0"/>
              </a:rPr>
              <a:t>режимде</a:t>
            </a:r>
            <a:r>
              <a:rPr lang="ru-RU" dirty="0" smtClean="0">
                <a:solidFill>
                  <a:schemeClr val="tx1"/>
                </a:solidFill>
                <a:latin typeface="Arial" pitchFamily="34" charset="0"/>
                <a:cs typeface="Arial" pitchFamily="34" charset="0"/>
              </a:rPr>
              <a:t> </a:t>
            </a:r>
            <a:r>
              <a:rPr lang="ru-RU" dirty="0" err="1" smtClean="0">
                <a:solidFill>
                  <a:schemeClr val="tx1"/>
                </a:solidFill>
                <a:latin typeface="Arial" pitchFamily="34" charset="0"/>
                <a:cs typeface="Arial" pitchFamily="34" charset="0"/>
              </a:rPr>
              <a:t>қосылатын</a:t>
            </a:r>
            <a:r>
              <a:rPr lang="ru-RU" dirty="0" smtClean="0">
                <a:solidFill>
                  <a:schemeClr val="tx1"/>
                </a:solidFill>
                <a:latin typeface="Arial" pitchFamily="34" charset="0"/>
                <a:cs typeface="Arial" pitchFamily="34" charset="0"/>
              </a:rPr>
              <a:t> </a:t>
            </a:r>
            <a:r>
              <a:rPr lang="ru-RU" dirty="0" err="1" smtClean="0">
                <a:solidFill>
                  <a:schemeClr val="tx1"/>
                </a:solidFill>
                <a:latin typeface="Arial" pitchFamily="34" charset="0"/>
                <a:cs typeface="Arial" pitchFamily="34" charset="0"/>
              </a:rPr>
              <a:t>болады</a:t>
            </a:r>
            <a:r>
              <a:rPr lang="ru-RU" dirty="0" smtClean="0">
                <a:solidFill>
                  <a:schemeClr val="tx1"/>
                </a:solidFill>
                <a:latin typeface="Arial" pitchFamily="34" charset="0"/>
                <a:cs typeface="Arial" pitchFamily="34" charset="0"/>
              </a:rPr>
              <a:t> </a:t>
            </a:r>
            <a:endParaRPr lang="ru-RU" dirty="0">
              <a:solidFill>
                <a:schemeClr val="tx1"/>
              </a:solidFill>
              <a:latin typeface="Arial" pitchFamily="34" charset="0"/>
              <a:cs typeface="Arial" pitchFamily="34" charset="0"/>
            </a:endParaRPr>
          </a:p>
          <a:p>
            <a:pPr algn="ctr"/>
            <a:r>
              <a:rPr lang="ru-RU" dirty="0" smtClean="0">
                <a:latin typeface="Arial" pitchFamily="34" charset="0"/>
                <a:cs typeface="Arial" pitchFamily="34" charset="0"/>
              </a:rPr>
              <a:t>:</a:t>
            </a:r>
            <a:endParaRPr lang="ru-RU" dirty="0">
              <a:latin typeface="Arial" pitchFamily="34" charset="0"/>
              <a:cs typeface="Arial" pitchFamily="34" charset="0"/>
            </a:endParaRPr>
          </a:p>
          <a:p>
            <a:pPr algn="ctr"/>
            <a:endParaRPr lang="ru-RU" dirty="0"/>
          </a:p>
        </p:txBody>
      </p:sp>
      <p:sp>
        <p:nvSpPr>
          <p:cNvPr id="30" name="Прямоугольник 29"/>
          <p:cNvSpPr/>
          <p:nvPr/>
        </p:nvSpPr>
        <p:spPr>
          <a:xfrm>
            <a:off x="5657850" y="4665593"/>
            <a:ext cx="2981325" cy="1077218"/>
          </a:xfrm>
          <a:prstGeom prst="rect">
            <a:avLst/>
          </a:prstGeom>
          <a:solidFill>
            <a:schemeClr val="accent4">
              <a:lumMod val="20000"/>
              <a:lumOff val="80000"/>
            </a:schemeClr>
          </a:solidFill>
        </p:spPr>
        <p:txBody>
          <a:bodyPr wrap="square">
            <a:spAutoFit/>
          </a:bodyPr>
          <a:lstStyle/>
          <a:p>
            <a:pPr marL="171450" lvl="0" indent="-171450">
              <a:buFontTx/>
              <a:buChar char="-"/>
            </a:pPr>
            <a:r>
              <a:rPr lang="ru-RU" sz="1600" b="1" dirty="0">
                <a:solidFill>
                  <a:prstClr val="black"/>
                </a:solidFill>
                <a:latin typeface="Arial" pitchFamily="34" charset="0"/>
                <a:cs typeface="Arial" pitchFamily="34" charset="0"/>
              </a:rPr>
              <a:t>190 </a:t>
            </a:r>
            <a:r>
              <a:rPr lang="ru-RU" sz="1600" b="1" dirty="0" smtClean="0">
                <a:solidFill>
                  <a:prstClr val="black"/>
                </a:solidFill>
                <a:latin typeface="Arial" pitchFamily="34" charset="0"/>
                <a:cs typeface="Arial" pitchFamily="34" charset="0"/>
              </a:rPr>
              <a:t>КТҮ</a:t>
            </a:r>
            <a:endParaRPr lang="ru-RU" sz="1600" b="1" dirty="0">
              <a:solidFill>
                <a:prstClr val="black"/>
              </a:solidFill>
              <a:latin typeface="Arial" pitchFamily="34" charset="0"/>
              <a:cs typeface="Arial" pitchFamily="34" charset="0"/>
            </a:endParaRPr>
          </a:p>
          <a:p>
            <a:pPr marL="171450" lvl="0" indent="-171450">
              <a:buFontTx/>
              <a:buChar char="-"/>
            </a:pPr>
            <a:r>
              <a:rPr lang="ru-RU" sz="1600" b="1" dirty="0">
                <a:solidFill>
                  <a:prstClr val="black"/>
                </a:solidFill>
                <a:latin typeface="Arial" pitchFamily="34" charset="0"/>
                <a:cs typeface="Arial" pitchFamily="34" charset="0"/>
              </a:rPr>
              <a:t>15 000 </a:t>
            </a:r>
            <a:r>
              <a:rPr lang="ru-RU" sz="1600" b="1" dirty="0" err="1" smtClean="0">
                <a:solidFill>
                  <a:prstClr val="black"/>
                </a:solidFill>
                <a:latin typeface="Arial" pitchFamily="34" charset="0"/>
                <a:cs typeface="Arial" pitchFamily="34" charset="0"/>
              </a:rPr>
              <a:t>пәтер</a:t>
            </a:r>
            <a:endParaRPr lang="ru-RU" sz="1600" b="1" dirty="0">
              <a:solidFill>
                <a:prstClr val="black"/>
              </a:solidFill>
              <a:latin typeface="Arial" pitchFamily="34" charset="0"/>
              <a:cs typeface="Arial" pitchFamily="34" charset="0"/>
            </a:endParaRPr>
          </a:p>
          <a:p>
            <a:pPr lvl="0"/>
            <a:r>
              <a:rPr lang="ru-RU" sz="1600" b="1" dirty="0" smtClean="0">
                <a:solidFill>
                  <a:prstClr val="black"/>
                </a:solidFill>
                <a:latin typeface="Arial" pitchFamily="34" charset="0"/>
                <a:cs typeface="Arial" pitchFamily="34" charset="0"/>
              </a:rPr>
              <a:t>- 28 ПИК </a:t>
            </a:r>
            <a:endParaRPr lang="ru-RU" sz="1600" b="1" dirty="0">
              <a:solidFill>
                <a:prstClr val="black"/>
              </a:solidFill>
              <a:latin typeface="Arial" pitchFamily="34" charset="0"/>
              <a:cs typeface="Arial" pitchFamily="34" charset="0"/>
            </a:endParaRPr>
          </a:p>
          <a:p>
            <a:pPr marL="171450" lvl="0" indent="-171450">
              <a:buFontTx/>
              <a:buChar char="-"/>
            </a:pPr>
            <a:r>
              <a:rPr lang="ru-RU" sz="1600" b="1" dirty="0">
                <a:solidFill>
                  <a:prstClr val="black"/>
                </a:solidFill>
                <a:latin typeface="Arial" pitchFamily="34" charset="0"/>
                <a:cs typeface="Arial" pitchFamily="34" charset="0"/>
              </a:rPr>
              <a:t>51 </a:t>
            </a:r>
            <a:r>
              <a:rPr lang="ru-RU" sz="1600" b="1" dirty="0" smtClean="0">
                <a:solidFill>
                  <a:prstClr val="black"/>
                </a:solidFill>
                <a:latin typeface="Arial" pitchFamily="34" charset="0"/>
                <a:cs typeface="Arial" pitchFamily="34" charset="0"/>
              </a:rPr>
              <a:t>ТМС</a:t>
            </a:r>
            <a:endParaRPr lang="ru-RU" sz="1600" dirty="0">
              <a:solidFill>
                <a:prstClr val="black"/>
              </a:solidFill>
              <a:latin typeface="Arial" pitchFamily="34" charset="0"/>
              <a:cs typeface="Arial" pitchFamily="34" charset="0"/>
            </a:endParaRPr>
          </a:p>
        </p:txBody>
      </p:sp>
      <p:sp>
        <p:nvSpPr>
          <p:cNvPr id="31" name="Номер слайда 2"/>
          <p:cNvSpPr>
            <a:spLocks noGrp="1"/>
          </p:cNvSpPr>
          <p:nvPr>
            <p:ph type="sldNum" sz="quarter" idx="12"/>
          </p:nvPr>
        </p:nvSpPr>
        <p:spPr>
          <a:xfrm>
            <a:off x="8735154" y="6356351"/>
            <a:ext cx="294546" cy="365125"/>
          </a:xfrm>
        </p:spPr>
        <p:txBody>
          <a:bodyPr/>
          <a:lstStyle/>
          <a:p>
            <a:fld id="{5B7F4A50-1F8C-475C-94C6-2D50DD7E8F1E}" type="slidenum">
              <a:rPr lang="en-US" smtClean="0">
                <a:solidFill>
                  <a:schemeClr val="tx1"/>
                </a:solidFill>
              </a:rPr>
              <a:t>8</a:t>
            </a:fld>
            <a:endParaRPr lang="en-US" dirty="0">
              <a:solidFill>
                <a:schemeClr val="tx1"/>
              </a:solidFill>
            </a:endParaRPr>
          </a:p>
        </p:txBody>
      </p:sp>
    </p:spTree>
    <p:extLst>
      <p:ext uri="{BB962C8B-B14F-4D97-AF65-F5344CB8AC3E}">
        <p14:creationId xmlns:p14="http://schemas.microsoft.com/office/powerpoint/2010/main" val="2778691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p:cTn id="7" dur="1000" fill="hold"/>
                                        <p:tgtEl>
                                          <p:spTgt spid="25"/>
                                        </p:tgtEl>
                                        <p:attrNameLst>
                                          <p:attrName>ppt_w</p:attrName>
                                        </p:attrNameLst>
                                      </p:cBhvr>
                                      <p:tavLst>
                                        <p:tav tm="0">
                                          <p:val>
                                            <p:fltVal val="0"/>
                                          </p:val>
                                        </p:tav>
                                        <p:tav tm="100000">
                                          <p:val>
                                            <p:strVal val="#ppt_w"/>
                                          </p:val>
                                        </p:tav>
                                      </p:tavLst>
                                    </p:anim>
                                    <p:anim calcmode="lin" valueType="num">
                                      <p:cBhvr>
                                        <p:cTn id="8" dur="1000" fill="hold"/>
                                        <p:tgtEl>
                                          <p:spTgt spid="25"/>
                                        </p:tgtEl>
                                        <p:attrNameLst>
                                          <p:attrName>ppt_h</p:attrName>
                                        </p:attrNameLst>
                                      </p:cBhvr>
                                      <p:tavLst>
                                        <p:tav tm="0">
                                          <p:val>
                                            <p:fltVal val="0"/>
                                          </p:val>
                                        </p:tav>
                                        <p:tav tm="100000">
                                          <p:val>
                                            <p:strVal val="#ppt_h"/>
                                          </p:val>
                                        </p:tav>
                                      </p:tavLst>
                                    </p:anim>
                                    <p:animEffect transition="in" filter="fade">
                                      <p:cBhvr>
                                        <p:cTn id="9"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hape 878"/>
          <p:cNvSpPr/>
          <p:nvPr/>
        </p:nvSpPr>
        <p:spPr>
          <a:xfrm>
            <a:off x="456739" y="955213"/>
            <a:ext cx="6915894" cy="316748"/>
          </a:xfrm>
          <a:prstGeom prst="rect">
            <a:avLst/>
          </a:prstGeom>
          <a:noFill/>
          <a:ln>
            <a:noFill/>
          </a:ln>
        </p:spPr>
        <p:txBody>
          <a:bodyPr spcFirstLastPara="1" wrap="square" lIns="47495" tIns="23741" rIns="47495" bIns="23741" anchor="ctr" anchorCtr="0">
            <a:noAutofit/>
          </a:bodyPr>
          <a:lstStyle/>
          <a:p>
            <a:pPr defTabSz="907928"/>
            <a:endParaRPr lang="ru-RU" sz="1660" b="1" dirty="0">
              <a:solidFill>
                <a:srgbClr val="0070C0"/>
              </a:solidFill>
              <a:latin typeface="Century Gothic" panose="020B0502020202020204" pitchFamily="34" charset="0"/>
              <a:cs typeface="Arial" panose="020B0604020202020204" pitchFamily="34" charset="0"/>
            </a:endParaRPr>
          </a:p>
        </p:txBody>
      </p:sp>
      <p:sp>
        <p:nvSpPr>
          <p:cNvPr id="35" name="Shape 878"/>
          <p:cNvSpPr/>
          <p:nvPr/>
        </p:nvSpPr>
        <p:spPr>
          <a:xfrm>
            <a:off x="266765" y="800695"/>
            <a:ext cx="6950741" cy="316748"/>
          </a:xfrm>
          <a:prstGeom prst="rect">
            <a:avLst/>
          </a:prstGeom>
          <a:noFill/>
          <a:ln>
            <a:noFill/>
          </a:ln>
        </p:spPr>
        <p:txBody>
          <a:bodyPr spcFirstLastPara="1" wrap="square" lIns="47495" tIns="23741" rIns="47495" bIns="23741" anchor="ctr" anchorCtr="0">
            <a:noAutofit/>
          </a:bodyPr>
          <a:lstStyle/>
          <a:p>
            <a:r>
              <a:rPr lang="ru-RU" sz="1660" b="1" u="sng" dirty="0">
                <a:solidFill>
                  <a:srgbClr val="002060"/>
                </a:solidFill>
                <a:latin typeface="Century Gothic" panose="020B0502020202020204" pitchFamily="34" charset="0"/>
                <a:cs typeface="Arial" panose="020B0604020202020204" pitchFamily="34" charset="0"/>
                <a:sym typeface="Arial"/>
              </a:rPr>
              <a:t>ТҚ </a:t>
            </a:r>
            <a:r>
              <a:rPr lang="ru-RU" sz="1660" b="1" u="sng" dirty="0" err="1">
                <a:solidFill>
                  <a:srgbClr val="002060"/>
                </a:solidFill>
                <a:latin typeface="Century Gothic" panose="020B0502020202020204" pitchFamily="34" charset="0"/>
                <a:cs typeface="Arial" panose="020B0604020202020204" pitchFamily="34" charset="0"/>
                <a:sym typeface="Arial"/>
              </a:rPr>
              <a:t>және</a:t>
            </a:r>
            <a:r>
              <a:rPr lang="ru-RU" sz="1660" b="1" u="sng" dirty="0">
                <a:solidFill>
                  <a:srgbClr val="002060"/>
                </a:solidFill>
                <a:latin typeface="Century Gothic" panose="020B0502020202020204" pitchFamily="34" charset="0"/>
                <a:cs typeface="Arial" panose="020B0604020202020204" pitchFamily="34" charset="0"/>
                <a:sym typeface="Arial"/>
              </a:rPr>
              <a:t> ТКШ БАЖ НОРМАТИВТІК РЕТТЕУ</a:t>
            </a:r>
            <a:endParaRPr lang="ru-RU" sz="1660" b="1" u="sng" dirty="0">
              <a:solidFill>
                <a:srgbClr val="002060"/>
              </a:solidFill>
              <a:latin typeface="Century Gothic" panose="020B0502020202020204" pitchFamily="34" charset="0"/>
              <a:cs typeface="Arial" panose="020B0604020202020204" pitchFamily="34" charset="0"/>
            </a:endParaRPr>
          </a:p>
        </p:txBody>
      </p:sp>
      <p:sp>
        <p:nvSpPr>
          <p:cNvPr id="53" name="TextBox 52"/>
          <p:cNvSpPr txBox="1"/>
          <p:nvPr/>
        </p:nvSpPr>
        <p:spPr>
          <a:xfrm>
            <a:off x="156946" y="1525275"/>
            <a:ext cx="1900609" cy="2784528"/>
          </a:xfrm>
          <a:prstGeom prst="rect">
            <a:avLst/>
          </a:prstGeom>
          <a:solidFill>
            <a:schemeClr val="bg1"/>
          </a:solidFill>
          <a:ln w="28575">
            <a:solidFill>
              <a:schemeClr val="bg2">
                <a:lumMod val="50000"/>
              </a:schemeClr>
            </a:solidFill>
          </a:ln>
        </p:spPr>
        <p:txBody>
          <a:bodyPr wrap="square" rtlCol="0">
            <a:noAutofit/>
          </a:bodyPr>
          <a:lstStyle/>
          <a:p>
            <a:pPr algn="ctr"/>
            <a:r>
              <a:rPr lang="ru-RU" sz="1350" b="1" u="sng" dirty="0">
                <a:solidFill>
                  <a:srgbClr val="E76B5E"/>
                </a:solidFill>
                <a:latin typeface="Century Gothic" panose="020B0502020202020204" pitchFamily="34" charset="0"/>
                <a:cs typeface="Arial" panose="020B0604020202020204" pitchFamily="34" charset="0"/>
                <a:sym typeface="Arial"/>
              </a:rPr>
              <a:t> </a:t>
            </a:r>
          </a:p>
          <a:p>
            <a:pPr algn="ctr"/>
            <a:endParaRPr lang="ru-RU" sz="1350" b="1" u="sng" dirty="0">
              <a:solidFill>
                <a:srgbClr val="E76B5E"/>
              </a:solidFill>
              <a:latin typeface="Century Gothic" panose="020B0502020202020204" pitchFamily="34" charset="0"/>
              <a:cs typeface="Arial" panose="020B0604020202020204" pitchFamily="34" charset="0"/>
              <a:sym typeface="Arial"/>
            </a:endParaRPr>
          </a:p>
          <a:p>
            <a:pPr algn="ctr"/>
            <a:endParaRPr lang="ru-RU" sz="1350" b="1" u="sng" dirty="0">
              <a:solidFill>
                <a:srgbClr val="E76B5E"/>
              </a:solidFill>
              <a:latin typeface="Century Gothic" panose="020B0502020202020204" pitchFamily="34" charset="0"/>
              <a:cs typeface="Arial" panose="020B0604020202020204" pitchFamily="34" charset="0"/>
              <a:sym typeface="Arial"/>
            </a:endParaRPr>
          </a:p>
          <a:p>
            <a:pPr algn="ctr"/>
            <a:r>
              <a:rPr lang="kk-KZ" sz="2400" dirty="0">
                <a:solidFill>
                  <a:srgbClr val="FF0000"/>
                </a:solidFill>
              </a:rPr>
              <a:t>ТҚ және ТКШ БАЖ</a:t>
            </a:r>
            <a:endParaRPr lang="ru-RU" sz="2400" b="1" u="sng" dirty="0">
              <a:solidFill>
                <a:srgbClr val="FF0000"/>
              </a:solidFill>
              <a:latin typeface="Century Gothic" panose="020B0502020202020204" pitchFamily="34" charset="0"/>
              <a:cs typeface="Arial" panose="020B0604020202020204" pitchFamily="34" charset="0"/>
            </a:endParaRPr>
          </a:p>
        </p:txBody>
      </p:sp>
      <p:sp>
        <p:nvSpPr>
          <p:cNvPr id="54" name="TextBox 53"/>
          <p:cNvSpPr txBox="1"/>
          <p:nvPr/>
        </p:nvSpPr>
        <p:spPr>
          <a:xfrm>
            <a:off x="156946" y="5052281"/>
            <a:ext cx="1900609" cy="1089030"/>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kk-KZ" b="1" dirty="0">
                <a:latin typeface="Century Gothic" panose="020B0502020202020204" pitchFamily="34" charset="0"/>
              </a:rPr>
              <a:t>НАРЫҚ </a:t>
            </a:r>
            <a:endParaRPr lang="ru-RU" sz="1125" b="1" dirty="0">
              <a:latin typeface="Century Gothic" panose="020B0502020202020204" pitchFamily="34" charset="0"/>
            </a:endParaRPr>
          </a:p>
        </p:txBody>
      </p:sp>
      <p:sp>
        <p:nvSpPr>
          <p:cNvPr id="55" name="Pentagon 27"/>
          <p:cNvSpPr/>
          <p:nvPr/>
        </p:nvSpPr>
        <p:spPr>
          <a:xfrm>
            <a:off x="2108789" y="1525275"/>
            <a:ext cx="357792" cy="2784528"/>
          </a:xfrm>
          <a:prstGeom prst="homePlate">
            <a:avLst/>
          </a:prstGeom>
          <a:solidFill>
            <a:schemeClr val="bg1">
              <a:lumMod val="9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783"/>
            <a:endParaRPr lang="en-US" sz="1400" dirty="0">
              <a:solidFill>
                <a:srgbClr val="17375E"/>
              </a:solidFill>
              <a:latin typeface="Calibri" panose="020F0502020204030204"/>
            </a:endParaRPr>
          </a:p>
        </p:txBody>
      </p:sp>
      <p:sp>
        <p:nvSpPr>
          <p:cNvPr id="56" name="TextBox 55"/>
          <p:cNvSpPr txBox="1"/>
          <p:nvPr/>
        </p:nvSpPr>
        <p:spPr>
          <a:xfrm>
            <a:off x="2514756" y="1513852"/>
            <a:ext cx="3794472" cy="2795951"/>
          </a:xfrm>
          <a:prstGeom prst="rect">
            <a:avLst/>
          </a:prstGeom>
          <a:solidFill>
            <a:schemeClr val="bg1"/>
          </a:solidFill>
          <a:ln w="28575">
            <a:solidFill>
              <a:schemeClr val="bg2">
                <a:lumMod val="50000"/>
              </a:schemeClr>
            </a:solidFill>
          </a:ln>
        </p:spPr>
        <p:txBody>
          <a:bodyPr wrap="square" rtlCol="0">
            <a:noAutofit/>
          </a:bodyPr>
          <a:lstStyle/>
          <a:p>
            <a:pPr algn="ctr"/>
            <a:r>
              <a:rPr lang="ru-RU" sz="1350" b="1" dirty="0" err="1" smtClean="0">
                <a:solidFill>
                  <a:srgbClr val="E76B5E"/>
                </a:solidFill>
                <a:latin typeface="Century Gothic" panose="020B0502020202020204" pitchFamily="34" charset="0"/>
                <a:sym typeface="Arial"/>
              </a:rPr>
              <a:t>Кондоминиумнің</a:t>
            </a:r>
            <a:r>
              <a:rPr lang="ru-RU" sz="1350" b="1" dirty="0" smtClean="0">
                <a:solidFill>
                  <a:srgbClr val="E76B5E"/>
                </a:solidFill>
                <a:latin typeface="Century Gothic" panose="020B0502020202020204" pitchFamily="34" charset="0"/>
                <a:sym typeface="Arial"/>
              </a:rPr>
              <a:t>  </a:t>
            </a:r>
            <a:r>
              <a:rPr lang="ru-RU" sz="1350" b="1" dirty="0" err="1">
                <a:solidFill>
                  <a:srgbClr val="E76B5E"/>
                </a:solidFill>
                <a:latin typeface="Century Gothic" panose="020B0502020202020204" pitchFamily="34" charset="0"/>
                <a:sym typeface="Arial"/>
              </a:rPr>
              <a:t>басқарушы</a:t>
            </a:r>
            <a:r>
              <a:rPr lang="ru-RU" sz="1350" b="1" dirty="0">
                <a:solidFill>
                  <a:srgbClr val="E76B5E"/>
                </a:solidFill>
                <a:latin typeface="Century Gothic" panose="020B0502020202020204" pitchFamily="34" charset="0"/>
                <a:sym typeface="Arial"/>
              </a:rPr>
              <a:t> </a:t>
            </a:r>
            <a:r>
              <a:rPr lang="ru-RU" sz="1350" b="1" dirty="0" err="1" smtClean="0">
                <a:solidFill>
                  <a:srgbClr val="E76B5E"/>
                </a:solidFill>
                <a:latin typeface="Century Gothic" panose="020B0502020202020204" pitchFamily="34" charset="0"/>
                <a:sym typeface="Arial"/>
              </a:rPr>
              <a:t>органдарын</a:t>
            </a:r>
            <a:r>
              <a:rPr lang="ru-RU" sz="1350" b="1" dirty="0" smtClean="0">
                <a:solidFill>
                  <a:srgbClr val="E76B5E"/>
                </a:solidFill>
                <a:latin typeface="Century Gothic" panose="020B0502020202020204" pitchFamily="34" charset="0"/>
                <a:sym typeface="Arial"/>
              </a:rPr>
              <a:t> </a:t>
            </a:r>
            <a:r>
              <a:rPr lang="ru-RU" sz="1350" b="1" dirty="0" err="1">
                <a:solidFill>
                  <a:srgbClr val="E76B5E"/>
                </a:solidFill>
                <a:latin typeface="Century Gothic" panose="020B0502020202020204" pitchFamily="34" charset="0"/>
                <a:sym typeface="Arial"/>
              </a:rPr>
              <a:t>заңнамалық</a:t>
            </a:r>
            <a:r>
              <a:rPr lang="ru-RU" sz="1350" b="1" dirty="0">
                <a:solidFill>
                  <a:srgbClr val="E76B5E"/>
                </a:solidFill>
                <a:latin typeface="Century Gothic" panose="020B0502020202020204" pitchFamily="34" charset="0"/>
                <a:sym typeface="Arial"/>
              </a:rPr>
              <a:t> </a:t>
            </a:r>
            <a:r>
              <a:rPr lang="ru-RU" sz="1350" b="1" dirty="0" err="1">
                <a:solidFill>
                  <a:srgbClr val="E76B5E"/>
                </a:solidFill>
                <a:latin typeface="Century Gothic" panose="020B0502020202020204" pitchFamily="34" charset="0"/>
                <a:sym typeface="Arial"/>
              </a:rPr>
              <a:t>түрде</a:t>
            </a:r>
            <a:r>
              <a:rPr lang="ru-RU" sz="1350" b="1" dirty="0">
                <a:solidFill>
                  <a:srgbClr val="E76B5E"/>
                </a:solidFill>
                <a:latin typeface="Century Gothic" panose="020B0502020202020204" pitchFamily="34" charset="0"/>
                <a:sym typeface="Arial"/>
              </a:rPr>
              <a:t> </a:t>
            </a:r>
            <a:r>
              <a:rPr lang="ru-RU" sz="1350" b="1" dirty="0" err="1">
                <a:solidFill>
                  <a:srgbClr val="E76B5E"/>
                </a:solidFill>
                <a:latin typeface="Century Gothic" panose="020B0502020202020204" pitchFamily="34" charset="0"/>
                <a:sym typeface="Arial"/>
              </a:rPr>
              <a:t>жүйеде</a:t>
            </a:r>
            <a:r>
              <a:rPr lang="ru-RU" sz="1350" b="1" dirty="0">
                <a:solidFill>
                  <a:srgbClr val="E76B5E"/>
                </a:solidFill>
                <a:latin typeface="Century Gothic" panose="020B0502020202020204" pitchFamily="34" charset="0"/>
                <a:sym typeface="Arial"/>
              </a:rPr>
              <a:t> </a:t>
            </a:r>
            <a:r>
              <a:rPr lang="ru-RU" sz="1350" b="1" dirty="0" err="1">
                <a:solidFill>
                  <a:srgbClr val="E76B5E"/>
                </a:solidFill>
                <a:latin typeface="Century Gothic" panose="020B0502020202020204" pitchFamily="34" charset="0"/>
                <a:sym typeface="Arial"/>
              </a:rPr>
              <a:t>тіркелуге</a:t>
            </a:r>
            <a:r>
              <a:rPr lang="ru-RU" sz="1350" b="1" dirty="0">
                <a:solidFill>
                  <a:srgbClr val="E76B5E"/>
                </a:solidFill>
                <a:latin typeface="Century Gothic" panose="020B0502020202020204" pitchFamily="34" charset="0"/>
                <a:sym typeface="Arial"/>
              </a:rPr>
              <a:t> </a:t>
            </a:r>
            <a:r>
              <a:rPr lang="ru-RU" sz="1350" b="1" dirty="0" err="1">
                <a:solidFill>
                  <a:srgbClr val="E76B5E"/>
                </a:solidFill>
                <a:latin typeface="Century Gothic" panose="020B0502020202020204" pitchFamily="34" charset="0"/>
                <a:sym typeface="Arial"/>
              </a:rPr>
              <a:t>және</a:t>
            </a:r>
            <a:r>
              <a:rPr lang="ru-RU" sz="1350" b="1" dirty="0">
                <a:solidFill>
                  <a:srgbClr val="E76B5E"/>
                </a:solidFill>
                <a:latin typeface="Century Gothic" panose="020B0502020202020204" pitchFamily="34" charset="0"/>
                <a:sym typeface="Arial"/>
              </a:rPr>
              <a:t> </a:t>
            </a:r>
            <a:r>
              <a:rPr lang="ru-RU" sz="1350" b="1" dirty="0" err="1">
                <a:solidFill>
                  <a:srgbClr val="E76B5E"/>
                </a:solidFill>
                <a:latin typeface="Century Gothic" panose="020B0502020202020204" pitchFamily="34" charset="0"/>
                <a:sym typeface="Arial"/>
              </a:rPr>
              <a:t>жұмыс</a:t>
            </a:r>
            <a:r>
              <a:rPr lang="ru-RU" sz="1350" b="1" dirty="0">
                <a:solidFill>
                  <a:srgbClr val="E76B5E"/>
                </a:solidFill>
                <a:latin typeface="Century Gothic" panose="020B0502020202020204" pitchFamily="34" charset="0"/>
                <a:sym typeface="Arial"/>
              </a:rPr>
              <a:t> </a:t>
            </a:r>
            <a:r>
              <a:rPr lang="ru-RU" sz="1350" b="1" dirty="0" err="1">
                <a:solidFill>
                  <a:srgbClr val="E76B5E"/>
                </a:solidFill>
                <a:latin typeface="Century Gothic" panose="020B0502020202020204" pitchFamily="34" charset="0"/>
                <a:sym typeface="Arial"/>
              </a:rPr>
              <a:t>істеуге</a:t>
            </a:r>
            <a:r>
              <a:rPr lang="ru-RU" sz="1350" b="1" dirty="0">
                <a:solidFill>
                  <a:srgbClr val="E76B5E"/>
                </a:solidFill>
                <a:latin typeface="Century Gothic" panose="020B0502020202020204" pitchFamily="34" charset="0"/>
                <a:sym typeface="Arial"/>
              </a:rPr>
              <a:t> </a:t>
            </a:r>
            <a:r>
              <a:rPr lang="ru-RU" sz="1350" b="1" dirty="0" err="1">
                <a:solidFill>
                  <a:srgbClr val="E76B5E"/>
                </a:solidFill>
                <a:latin typeface="Century Gothic" panose="020B0502020202020204" pitchFamily="34" charset="0"/>
                <a:sym typeface="Arial"/>
              </a:rPr>
              <a:t>міндеттеу</a:t>
            </a:r>
            <a:r>
              <a:rPr lang="ru-RU" sz="1350" b="1" dirty="0">
                <a:solidFill>
                  <a:srgbClr val="E76B5E"/>
                </a:solidFill>
                <a:latin typeface="Century Gothic" panose="020B0502020202020204" pitchFamily="34" charset="0"/>
                <a:sym typeface="Arial"/>
              </a:rPr>
              <a:t>:  </a:t>
            </a:r>
          </a:p>
          <a:p>
            <a:pPr algn="ctr"/>
            <a:endParaRPr lang="ru-RU" sz="375" b="1" dirty="0">
              <a:latin typeface="Century Gothic" panose="020B0502020202020204" pitchFamily="34" charset="0"/>
              <a:sym typeface="Arial"/>
            </a:endParaRPr>
          </a:p>
          <a:p>
            <a:pPr marL="205978"/>
            <a:r>
              <a:rPr lang="ru-RU" sz="750" b="1" dirty="0">
                <a:latin typeface="Century Gothic" panose="020B0502020202020204" pitchFamily="34" charset="0"/>
                <a:sym typeface="Arial"/>
              </a:rPr>
              <a:t>   </a:t>
            </a:r>
            <a:r>
              <a:rPr lang="ru-RU" sz="750" b="1" dirty="0" smtClean="0">
                <a:latin typeface="Century Gothic" panose="020B0502020202020204" pitchFamily="34" charset="0"/>
                <a:sym typeface="Arial"/>
              </a:rPr>
              <a:t>ҮЙГЕ </a:t>
            </a:r>
            <a:r>
              <a:rPr lang="ru-RU" sz="800" b="1" dirty="0" smtClean="0">
                <a:latin typeface="Century Gothic" panose="020B0502020202020204" pitchFamily="34" charset="0"/>
                <a:sym typeface="Arial"/>
              </a:rPr>
              <a:t>СЕРВИСТІК ҚЫЗМЕТ  КӨРСЕТУ ЖӘНЕ КҮТІП-ҰСТАУ ҮШІН </a:t>
            </a:r>
          </a:p>
          <a:p>
            <a:pPr marL="205978"/>
            <a:r>
              <a:rPr lang="ru-RU" sz="800" b="1" dirty="0" smtClean="0">
                <a:latin typeface="Century Gothic" panose="020B0502020202020204" pitchFamily="34" charset="0"/>
                <a:sym typeface="Arial"/>
              </a:rPr>
              <a:t>   КЕЛІСІМ-ШАРТ ЖАСАСУ</a:t>
            </a:r>
          </a:p>
          <a:p>
            <a:pPr marL="205978"/>
            <a:endParaRPr lang="ru-RU" sz="800" b="1" dirty="0" smtClean="0">
              <a:latin typeface="Century Gothic" panose="020B0502020202020204" pitchFamily="34" charset="0"/>
              <a:sym typeface="Arial"/>
            </a:endParaRPr>
          </a:p>
          <a:p>
            <a:pPr marL="205978"/>
            <a:r>
              <a:rPr lang="ru-RU" sz="800" b="1" dirty="0" smtClean="0">
                <a:latin typeface="Century Gothic" panose="020B0502020202020204" pitchFamily="34" charset="0"/>
                <a:sym typeface="Arial"/>
              </a:rPr>
              <a:t>   АҒЫМДАҒЫ ЖӘНЕ ЖИНАҚ ШОТТАРДЫҢ КӨРІНІСІ</a:t>
            </a:r>
          </a:p>
          <a:p>
            <a:pPr marL="205978"/>
            <a:r>
              <a:rPr lang="ru-RU" b="1" u="sng" dirty="0" smtClean="0">
                <a:solidFill>
                  <a:srgbClr val="E76B5E"/>
                </a:solidFill>
                <a:latin typeface="Century Gothic" panose="020B0502020202020204" pitchFamily="34" charset="0"/>
                <a:cs typeface="Arial" panose="020B0604020202020204" pitchFamily="34" charset="0"/>
                <a:sym typeface="Arial"/>
              </a:rPr>
              <a:t>  </a:t>
            </a:r>
            <a:r>
              <a:rPr lang="ru-RU" sz="900" b="1" dirty="0" smtClean="0">
                <a:latin typeface="Century Gothic" panose="020B0502020202020204" pitchFamily="34" charset="0"/>
                <a:sym typeface="Arial"/>
              </a:rPr>
              <a:t>  </a:t>
            </a:r>
          </a:p>
          <a:p>
            <a:pPr marL="205978"/>
            <a:r>
              <a:rPr lang="ru-RU" sz="900" b="1" dirty="0" smtClean="0">
                <a:latin typeface="Century Gothic" panose="020B0502020202020204" pitchFamily="34" charset="0"/>
                <a:sym typeface="Arial"/>
              </a:rPr>
              <a:t>   ҮЙДІҢ ТЕХНИКАЛЫҚ ПАСПОРТЫ  </a:t>
            </a:r>
          </a:p>
          <a:p>
            <a:pPr marL="205978"/>
            <a:endParaRPr lang="ru-RU" sz="900" b="1" dirty="0" smtClean="0">
              <a:latin typeface="Century Gothic" panose="020B0502020202020204" pitchFamily="34" charset="0"/>
              <a:sym typeface="Arial"/>
            </a:endParaRPr>
          </a:p>
          <a:p>
            <a:pPr marL="205978"/>
            <a:r>
              <a:rPr lang="ru-RU" sz="900" b="1" dirty="0" smtClean="0">
                <a:latin typeface="Century Gothic" panose="020B0502020202020204" pitchFamily="34" charset="0"/>
                <a:sym typeface="Arial"/>
              </a:rPr>
              <a:t>   </a:t>
            </a:r>
          </a:p>
          <a:p>
            <a:pPr marL="205978"/>
            <a:r>
              <a:rPr lang="ru-RU" sz="900" b="1" dirty="0" smtClean="0">
                <a:latin typeface="Century Gothic" panose="020B0502020202020204" pitchFamily="34" charset="0"/>
                <a:sym typeface="Arial"/>
              </a:rPr>
              <a:t>   МЕНШІК ИЕСІ ТУРАЛЫ ДЕРЕКТЕР</a:t>
            </a:r>
          </a:p>
          <a:p>
            <a:pPr marL="205978"/>
            <a:endParaRPr lang="ru-RU" b="1" u="sng" dirty="0">
              <a:solidFill>
                <a:srgbClr val="E76B5E"/>
              </a:solidFill>
              <a:latin typeface="Century Gothic" panose="020B0502020202020204" pitchFamily="34" charset="0"/>
              <a:cs typeface="Arial" panose="020B0604020202020204" pitchFamily="34" charset="0"/>
              <a:sym typeface="Arial"/>
            </a:endParaRPr>
          </a:p>
        </p:txBody>
      </p:sp>
      <p:sp>
        <p:nvSpPr>
          <p:cNvPr id="57" name="TextBox 56"/>
          <p:cNvSpPr txBox="1"/>
          <p:nvPr/>
        </p:nvSpPr>
        <p:spPr>
          <a:xfrm>
            <a:off x="2506101" y="5052276"/>
            <a:ext cx="6110019" cy="1089030"/>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1200" b="1" dirty="0" err="1">
                <a:solidFill>
                  <a:srgbClr val="E76B5E"/>
                </a:solidFill>
                <a:latin typeface="Century Gothic" panose="020B0502020202020204" pitchFamily="34" charset="0"/>
              </a:rPr>
              <a:t>Үйді</a:t>
            </a:r>
            <a:r>
              <a:rPr lang="ru-RU" sz="1200" b="1" dirty="0">
                <a:solidFill>
                  <a:srgbClr val="E76B5E"/>
                </a:solidFill>
                <a:latin typeface="Century Gothic" panose="020B0502020202020204" pitchFamily="34" charset="0"/>
              </a:rPr>
              <a:t> </a:t>
            </a:r>
            <a:r>
              <a:rPr lang="ru-RU" sz="1200" b="1" dirty="0" err="1" smtClean="0">
                <a:solidFill>
                  <a:srgbClr val="E76B5E"/>
                </a:solidFill>
                <a:latin typeface="Century Gothic" panose="020B0502020202020204" pitchFamily="34" charset="0"/>
              </a:rPr>
              <a:t>басқару</a:t>
            </a:r>
            <a:r>
              <a:rPr lang="ru-RU" sz="1200" b="1" dirty="0" smtClean="0">
                <a:solidFill>
                  <a:srgbClr val="E76B5E"/>
                </a:solidFill>
                <a:latin typeface="Century Gothic" panose="020B0502020202020204" pitchFamily="34" charset="0"/>
              </a:rPr>
              <a:t> </a:t>
            </a:r>
            <a:r>
              <a:rPr lang="ru-RU" sz="1200" b="1" dirty="0" err="1" smtClean="0">
                <a:solidFill>
                  <a:srgbClr val="E76B5E"/>
                </a:solidFill>
                <a:latin typeface="Century Gothic" panose="020B0502020202020204" pitchFamily="34" charset="0"/>
              </a:rPr>
              <a:t>бойынша</a:t>
            </a:r>
            <a:r>
              <a:rPr lang="ru-RU" sz="1200" b="1" dirty="0" smtClean="0">
                <a:solidFill>
                  <a:srgbClr val="E76B5E"/>
                </a:solidFill>
                <a:latin typeface="Century Gothic" panose="020B0502020202020204" pitchFamily="34" charset="0"/>
              </a:rPr>
              <a:t> </a:t>
            </a:r>
            <a:r>
              <a:rPr lang="ru-RU" sz="1200" b="1" dirty="0" err="1" smtClean="0">
                <a:solidFill>
                  <a:srgbClr val="E76B5E"/>
                </a:solidFill>
                <a:latin typeface="Century Gothic" panose="020B0502020202020204" pitchFamily="34" charset="0"/>
              </a:rPr>
              <a:t>күнделікті</a:t>
            </a:r>
            <a:r>
              <a:rPr lang="ru-RU" sz="1200" b="1" dirty="0" smtClean="0">
                <a:solidFill>
                  <a:srgbClr val="E76B5E"/>
                </a:solidFill>
                <a:latin typeface="Century Gothic" panose="020B0502020202020204" pitchFamily="34" charset="0"/>
              </a:rPr>
              <a:t> </a:t>
            </a:r>
            <a:r>
              <a:rPr lang="ru-RU" sz="1200" b="1" dirty="0" err="1">
                <a:solidFill>
                  <a:srgbClr val="E76B5E"/>
                </a:solidFill>
                <a:latin typeface="Century Gothic" panose="020B0502020202020204" pitchFamily="34" charset="0"/>
              </a:rPr>
              <a:t>операциялық</a:t>
            </a:r>
            <a:r>
              <a:rPr lang="ru-RU" sz="1200" b="1" dirty="0">
                <a:solidFill>
                  <a:srgbClr val="E76B5E"/>
                </a:solidFill>
                <a:latin typeface="Century Gothic" panose="020B0502020202020204" pitchFamily="34" charset="0"/>
              </a:rPr>
              <a:t> </a:t>
            </a:r>
            <a:r>
              <a:rPr lang="ru-RU" sz="1200" b="1" dirty="0" err="1">
                <a:solidFill>
                  <a:srgbClr val="E76B5E"/>
                </a:solidFill>
                <a:latin typeface="Century Gothic" panose="020B0502020202020204" pitchFamily="34" charset="0"/>
              </a:rPr>
              <a:t>қызметтер</a:t>
            </a:r>
            <a:endParaRPr lang="ru-RU" sz="1200" b="1" dirty="0">
              <a:solidFill>
                <a:srgbClr val="E76B5E"/>
              </a:solidFill>
              <a:latin typeface="Century Gothic" panose="020B0502020202020204" pitchFamily="34" charset="0"/>
            </a:endParaRPr>
          </a:p>
          <a:p>
            <a:pPr algn="ctr"/>
            <a:r>
              <a:rPr lang="ru-RU" sz="1200" b="1" dirty="0" err="1">
                <a:latin typeface="Century Gothic" panose="020B0502020202020204" pitchFamily="34" charset="0"/>
              </a:rPr>
              <a:t>Өтінімдер</a:t>
            </a:r>
            <a:r>
              <a:rPr lang="ru-RU" sz="1200" b="1" dirty="0">
                <a:latin typeface="Century Gothic" panose="020B0502020202020204" pitchFamily="34" charset="0"/>
              </a:rPr>
              <a:t> мен </a:t>
            </a:r>
            <a:r>
              <a:rPr lang="ru-RU" sz="1200" b="1" dirty="0" err="1">
                <a:latin typeface="Century Gothic" panose="020B0502020202020204" pitchFamily="34" charset="0"/>
              </a:rPr>
              <a:t>өтініштерді</a:t>
            </a:r>
            <a:r>
              <a:rPr lang="ru-RU" sz="1200" b="1" dirty="0">
                <a:latin typeface="Century Gothic" panose="020B0502020202020204" pitchFamily="34" charset="0"/>
              </a:rPr>
              <a:t> </a:t>
            </a:r>
            <a:r>
              <a:rPr lang="ru-RU" sz="1200" b="1" dirty="0" err="1">
                <a:latin typeface="Century Gothic" panose="020B0502020202020204" pitchFamily="34" charset="0"/>
              </a:rPr>
              <a:t>қабылау</a:t>
            </a:r>
            <a:r>
              <a:rPr lang="ru-RU" sz="1200" b="1" dirty="0">
                <a:latin typeface="Century Gothic" panose="020B0502020202020204" pitchFamily="34" charset="0"/>
              </a:rPr>
              <a:t> </a:t>
            </a:r>
            <a:r>
              <a:rPr lang="ru-RU" sz="1200" b="1" dirty="0" err="1">
                <a:latin typeface="Century Gothic" panose="020B0502020202020204" pitchFamily="34" charset="0"/>
              </a:rPr>
              <a:t>және</a:t>
            </a:r>
            <a:r>
              <a:rPr lang="ru-RU" sz="1200" b="1" dirty="0">
                <a:latin typeface="Century Gothic" panose="020B0502020202020204" pitchFamily="34" charset="0"/>
              </a:rPr>
              <a:t> </a:t>
            </a:r>
            <a:r>
              <a:rPr lang="ru-RU" sz="1200" b="1" dirty="0" err="1">
                <a:latin typeface="Century Gothic" panose="020B0502020202020204" pitchFamily="34" charset="0"/>
              </a:rPr>
              <a:t>өңдеу</a:t>
            </a:r>
            <a:r>
              <a:rPr lang="ru-RU" sz="1200" b="1" dirty="0">
                <a:latin typeface="Century Gothic" panose="020B0502020202020204" pitchFamily="34" charset="0"/>
              </a:rPr>
              <a:t>, </a:t>
            </a:r>
            <a:r>
              <a:rPr lang="ru-RU" sz="1200" b="1" dirty="0" err="1" smtClean="0">
                <a:latin typeface="Century Gothic" panose="020B0502020202020204" pitchFamily="34" charset="0"/>
              </a:rPr>
              <a:t>хабарламаларды</a:t>
            </a:r>
            <a:r>
              <a:rPr lang="ru-RU" sz="1200" b="1" dirty="0" smtClean="0">
                <a:latin typeface="Century Gothic" panose="020B0502020202020204" pitchFamily="34" charset="0"/>
              </a:rPr>
              <a:t> </a:t>
            </a:r>
            <a:r>
              <a:rPr lang="ru-RU" sz="1200" b="1" dirty="0" err="1" smtClean="0">
                <a:latin typeface="Century Gothic" panose="020B0502020202020204" pitchFamily="34" charset="0"/>
              </a:rPr>
              <a:t>тарату</a:t>
            </a:r>
            <a:r>
              <a:rPr lang="ru-RU" sz="1200" b="1" dirty="0" smtClean="0">
                <a:latin typeface="Century Gothic" panose="020B0502020202020204" pitchFamily="34" charset="0"/>
              </a:rPr>
              <a:t>, </a:t>
            </a:r>
            <a:r>
              <a:rPr lang="ru-RU" sz="1200" b="1" dirty="0" err="1">
                <a:latin typeface="Century Gothic" panose="020B0502020202020204" pitchFamily="34" charset="0"/>
              </a:rPr>
              <a:t>форумдар</a:t>
            </a:r>
            <a:r>
              <a:rPr lang="ru-RU" sz="1200" b="1" dirty="0">
                <a:latin typeface="Century Gothic" panose="020B0502020202020204" pitchFamily="34" charset="0"/>
              </a:rPr>
              <a:t>, </a:t>
            </a:r>
            <a:r>
              <a:rPr lang="ru-RU" sz="1200" b="1" dirty="0" err="1">
                <a:latin typeface="Century Gothic" panose="020B0502020202020204" pitchFamily="34" charset="0"/>
              </a:rPr>
              <a:t>автоматтандырылған</a:t>
            </a:r>
            <a:r>
              <a:rPr lang="ru-RU" sz="1200" b="1" dirty="0">
                <a:latin typeface="Century Gothic" panose="020B0502020202020204" pitchFamily="34" charset="0"/>
              </a:rPr>
              <a:t> </a:t>
            </a:r>
            <a:r>
              <a:rPr lang="ru-RU" sz="1200" b="1" dirty="0" err="1">
                <a:latin typeface="Century Gothic" panose="020B0502020202020204" pitchFamily="34" charset="0"/>
              </a:rPr>
              <a:t>қызметтерді</a:t>
            </a:r>
            <a:r>
              <a:rPr lang="ru-RU" sz="1200" b="1" dirty="0">
                <a:latin typeface="Century Gothic" panose="020B0502020202020204" pitchFamily="34" charset="0"/>
              </a:rPr>
              <a:t> </a:t>
            </a:r>
            <a:r>
              <a:rPr lang="ru-RU" sz="1200" b="1" dirty="0" err="1">
                <a:latin typeface="Century Gothic" panose="020B0502020202020204" pitchFamily="34" charset="0"/>
              </a:rPr>
              <a:t>ұсыну</a:t>
            </a:r>
            <a:r>
              <a:rPr lang="ru-RU" sz="1200" b="1" dirty="0">
                <a:latin typeface="Century Gothic" panose="020B0502020202020204" pitchFamily="34" charset="0"/>
              </a:rPr>
              <a:t> (</a:t>
            </a:r>
            <a:r>
              <a:rPr lang="ru-RU" sz="1200" b="1" dirty="0" err="1">
                <a:latin typeface="Century Gothic" panose="020B0502020202020204" pitchFamily="34" charset="0"/>
              </a:rPr>
              <a:t>бейнебақылау</a:t>
            </a:r>
            <a:r>
              <a:rPr lang="ru-RU" sz="1200" b="1" dirty="0">
                <a:latin typeface="Century Gothic" panose="020B0502020202020204" pitchFamily="34" charset="0"/>
              </a:rPr>
              <a:t>,  </a:t>
            </a:r>
            <a:r>
              <a:rPr lang="ru-RU" sz="1200" b="1" dirty="0" err="1">
                <a:latin typeface="Century Gothic" panose="020B0502020202020204" pitchFamily="34" charset="0"/>
              </a:rPr>
              <a:t>шлагбаумдарды</a:t>
            </a:r>
            <a:r>
              <a:rPr lang="ru-RU" sz="1200" b="1" dirty="0">
                <a:latin typeface="Century Gothic" panose="020B0502020202020204" pitchFamily="34" charset="0"/>
              </a:rPr>
              <a:t> </a:t>
            </a:r>
            <a:r>
              <a:rPr lang="ru-RU" sz="1200" b="1" dirty="0" err="1">
                <a:latin typeface="Century Gothic" panose="020B0502020202020204" pitchFamily="34" charset="0"/>
              </a:rPr>
              <a:t>ашу</a:t>
            </a:r>
            <a:r>
              <a:rPr lang="ru-RU" sz="1200" b="1" dirty="0">
                <a:latin typeface="Century Gothic" panose="020B0502020202020204" pitchFamily="34" charset="0"/>
              </a:rPr>
              <a:t>)</a:t>
            </a:r>
          </a:p>
        </p:txBody>
      </p:sp>
      <p:sp>
        <p:nvSpPr>
          <p:cNvPr id="58" name="Pentagon 27"/>
          <p:cNvSpPr/>
          <p:nvPr/>
        </p:nvSpPr>
        <p:spPr>
          <a:xfrm>
            <a:off x="6382294" y="1513852"/>
            <a:ext cx="2609306" cy="2879853"/>
          </a:xfrm>
          <a:prstGeom prst="homePlate">
            <a:avLst>
              <a:gd name="adj" fmla="val 13739"/>
            </a:avLst>
          </a:prstGeom>
          <a:solidFill>
            <a:schemeClr val="bg1">
              <a:lumMod val="95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defTabSz="685783"/>
            <a:endParaRPr lang="en-US" sz="1400" dirty="0">
              <a:solidFill>
                <a:srgbClr val="17375E"/>
              </a:solidFill>
              <a:latin typeface="Calibri" panose="020F0502020204030204"/>
            </a:endParaRPr>
          </a:p>
        </p:txBody>
      </p:sp>
      <p:sp>
        <p:nvSpPr>
          <p:cNvPr id="20" name="TextBox 19"/>
          <p:cNvSpPr txBox="1"/>
          <p:nvPr/>
        </p:nvSpPr>
        <p:spPr>
          <a:xfrm>
            <a:off x="6468103" y="1710010"/>
            <a:ext cx="2067565" cy="582232"/>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900" b="1" dirty="0">
                <a:latin typeface="Century Gothic" panose="020B0502020202020204" pitchFamily="34" charset="0"/>
              </a:rPr>
              <a:t>КТҮ </a:t>
            </a:r>
            <a:r>
              <a:rPr lang="ru-RU" sz="900" b="1" dirty="0" err="1">
                <a:latin typeface="Century Gothic" panose="020B0502020202020204" pitchFamily="34" charset="0"/>
              </a:rPr>
              <a:t>басқарудың</a:t>
            </a:r>
            <a:r>
              <a:rPr lang="ru-RU" sz="900" b="1" dirty="0">
                <a:latin typeface="Century Gothic" panose="020B0502020202020204" pitchFamily="34" charset="0"/>
              </a:rPr>
              <a:t> </a:t>
            </a:r>
            <a:r>
              <a:rPr lang="ru-RU" sz="900" b="1" dirty="0" err="1">
                <a:latin typeface="Century Gothic" panose="020B0502020202020204" pitchFamily="34" charset="0"/>
              </a:rPr>
              <a:t>мемлекеттік</a:t>
            </a:r>
            <a:r>
              <a:rPr lang="ru-RU" sz="900" b="1" dirty="0">
                <a:latin typeface="Century Gothic" panose="020B0502020202020204" pitchFamily="34" charset="0"/>
              </a:rPr>
              <a:t> </a:t>
            </a:r>
            <a:r>
              <a:rPr lang="ru-RU" sz="900" b="1" dirty="0" err="1" smtClean="0">
                <a:latin typeface="Century Gothic" panose="020B0502020202020204" pitchFamily="34" charset="0"/>
              </a:rPr>
              <a:t>дерекқоры</a:t>
            </a:r>
            <a:r>
              <a:rPr lang="ru-RU" sz="900" b="1" dirty="0" smtClean="0">
                <a:latin typeface="Century Gothic" panose="020B0502020202020204" pitchFamily="34" charset="0"/>
              </a:rPr>
              <a:t> </a:t>
            </a:r>
            <a:r>
              <a:rPr lang="ru-RU" sz="900" b="1" i="1" dirty="0">
                <a:latin typeface="Century Gothic" panose="020B0502020202020204" pitchFamily="34" charset="0"/>
              </a:rPr>
              <a:t>(</a:t>
            </a:r>
            <a:r>
              <a:rPr lang="ru-RU" sz="900" b="1" i="1" dirty="0" smtClean="0">
                <a:latin typeface="Century Gothic" panose="020B0502020202020204" pitchFamily="34" charset="0"/>
              </a:rPr>
              <a:t>МИБ/ПИК/БК </a:t>
            </a:r>
            <a:r>
              <a:rPr lang="ru-RU" sz="900" b="1" i="1" dirty="0" err="1">
                <a:latin typeface="Century Gothic" panose="020B0502020202020204" pitchFamily="34" charset="0"/>
              </a:rPr>
              <a:t>реестрі</a:t>
            </a:r>
            <a:r>
              <a:rPr lang="ru-RU" sz="900" b="1" i="1" dirty="0">
                <a:latin typeface="Century Gothic" panose="020B0502020202020204" pitchFamily="34" charset="0"/>
              </a:rPr>
              <a:t>)</a:t>
            </a:r>
          </a:p>
        </p:txBody>
      </p:sp>
      <p:sp>
        <p:nvSpPr>
          <p:cNvPr id="21" name="TextBox 20"/>
          <p:cNvSpPr txBox="1"/>
          <p:nvPr/>
        </p:nvSpPr>
        <p:spPr>
          <a:xfrm>
            <a:off x="6468103" y="2369376"/>
            <a:ext cx="2072648" cy="367189"/>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750" b="1" i="1" dirty="0">
                <a:latin typeface="Century Gothic" panose="020B0502020202020204" pitchFamily="34" charset="0"/>
              </a:rPr>
              <a:t>ТКШ </a:t>
            </a:r>
            <a:r>
              <a:rPr lang="ru-RU" sz="750" b="1" i="1" dirty="0" err="1">
                <a:latin typeface="Century Gothic" panose="020B0502020202020204" pitchFamily="34" charset="0"/>
              </a:rPr>
              <a:t>жеткізушілері</a:t>
            </a:r>
            <a:r>
              <a:rPr lang="ru-RU" sz="750" b="1" i="1" dirty="0">
                <a:latin typeface="Century Gothic" panose="020B0502020202020204" pitchFamily="34" charset="0"/>
              </a:rPr>
              <a:t> мен </a:t>
            </a:r>
            <a:r>
              <a:rPr lang="ru-RU" sz="750" b="1" i="1" dirty="0" err="1">
                <a:latin typeface="Century Gothic" panose="020B0502020202020204" pitchFamily="34" charset="0"/>
              </a:rPr>
              <a:t>келісім-шарттар</a:t>
            </a:r>
            <a:r>
              <a:rPr lang="ru-RU" sz="750" b="1" i="1" dirty="0">
                <a:latin typeface="Century Gothic" panose="020B0502020202020204" pitchFamily="34" charset="0"/>
              </a:rPr>
              <a:t> </a:t>
            </a:r>
            <a:r>
              <a:rPr lang="ru-RU" sz="750" b="1" i="1" dirty="0" err="1">
                <a:latin typeface="Century Gothic" panose="020B0502020202020204" pitchFamily="34" charset="0"/>
              </a:rPr>
              <a:t>реестрі</a:t>
            </a:r>
            <a:r>
              <a:rPr lang="ru-RU" sz="750" b="1" i="1" dirty="0">
                <a:latin typeface="Century Gothic" panose="020B0502020202020204" pitchFamily="34" charset="0"/>
              </a:rPr>
              <a:t>, </a:t>
            </a:r>
          </a:p>
          <a:p>
            <a:pPr algn="ctr"/>
            <a:r>
              <a:rPr lang="ru-RU" sz="750" b="1" i="1" dirty="0" err="1">
                <a:latin typeface="Century Gothic" panose="020B0502020202020204" pitchFamily="34" charset="0"/>
              </a:rPr>
              <a:t>Сатып</a:t>
            </a:r>
            <a:r>
              <a:rPr lang="ru-RU" sz="750" b="1" i="1" dirty="0">
                <a:latin typeface="Century Gothic" panose="020B0502020202020204" pitchFamily="34" charset="0"/>
              </a:rPr>
              <a:t> </a:t>
            </a:r>
            <a:r>
              <a:rPr lang="ru-RU" sz="750" b="1" i="1" dirty="0" err="1">
                <a:latin typeface="Century Gothic" panose="020B0502020202020204" pitchFamily="34" charset="0"/>
              </a:rPr>
              <a:t>алуды</a:t>
            </a:r>
            <a:r>
              <a:rPr lang="ru-RU" sz="750" b="1" i="1" dirty="0">
                <a:latin typeface="Century Gothic" panose="020B0502020202020204" pitchFamily="34" charset="0"/>
              </a:rPr>
              <a:t> </a:t>
            </a:r>
            <a:r>
              <a:rPr lang="ru-RU" sz="750" b="1" i="1" dirty="0" err="1">
                <a:latin typeface="Century Gothic" panose="020B0502020202020204" pitchFamily="34" charset="0"/>
              </a:rPr>
              <a:t>жоспарлау</a:t>
            </a:r>
            <a:r>
              <a:rPr lang="ru-RU" sz="750" b="1" i="1" dirty="0">
                <a:latin typeface="Century Gothic" panose="020B0502020202020204" pitchFamily="34" charset="0"/>
              </a:rPr>
              <a:t>  </a:t>
            </a:r>
          </a:p>
        </p:txBody>
      </p:sp>
      <p:sp>
        <p:nvSpPr>
          <p:cNvPr id="22" name="TextBox 21"/>
          <p:cNvSpPr txBox="1"/>
          <p:nvPr/>
        </p:nvSpPr>
        <p:spPr>
          <a:xfrm>
            <a:off x="6468103" y="2829954"/>
            <a:ext cx="2080266" cy="298649"/>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900" b="1" i="1" dirty="0">
                <a:latin typeface="Century Gothic" panose="020B0502020202020204" pitchFamily="34" charset="0"/>
              </a:rPr>
              <a:t>ЕДБ-мен </a:t>
            </a:r>
            <a:r>
              <a:rPr lang="ru-RU" sz="900" b="1" i="1" dirty="0" err="1">
                <a:latin typeface="Century Gothic" panose="020B0502020202020204" pitchFamily="34" charset="0"/>
              </a:rPr>
              <a:t>бірігу</a:t>
            </a:r>
            <a:r>
              <a:rPr lang="ru-RU" sz="900" b="1" i="1" dirty="0">
                <a:latin typeface="Century Gothic" panose="020B0502020202020204" pitchFamily="34" charset="0"/>
              </a:rPr>
              <a:t> </a:t>
            </a:r>
            <a:r>
              <a:rPr lang="ru-RU" sz="900" b="1" i="1" dirty="0" err="1">
                <a:latin typeface="Century Gothic" panose="020B0502020202020204" pitchFamily="34" charset="0"/>
              </a:rPr>
              <a:t>және</a:t>
            </a:r>
            <a:r>
              <a:rPr lang="ru-RU" sz="900" b="1" i="1" dirty="0">
                <a:latin typeface="Century Gothic" panose="020B0502020202020204" pitchFamily="34" charset="0"/>
              </a:rPr>
              <a:t> </a:t>
            </a:r>
            <a:r>
              <a:rPr lang="ru-RU" sz="900" b="1" i="1" dirty="0" err="1" smtClean="0">
                <a:latin typeface="Century Gothic" panose="020B0502020202020204" pitchFamily="34" charset="0"/>
              </a:rPr>
              <a:t>есеп</a:t>
            </a:r>
            <a:r>
              <a:rPr lang="ru-RU" sz="900" b="1" i="1" dirty="0" smtClean="0">
                <a:latin typeface="Century Gothic" panose="020B0502020202020204" pitchFamily="34" charset="0"/>
              </a:rPr>
              <a:t> </a:t>
            </a:r>
            <a:r>
              <a:rPr lang="ru-RU" sz="900" b="1" i="1" dirty="0" err="1">
                <a:latin typeface="Century Gothic" panose="020B0502020202020204" pitchFamily="34" charset="0"/>
              </a:rPr>
              <a:t>беруді</a:t>
            </a:r>
            <a:r>
              <a:rPr lang="ru-RU" sz="900" b="1" i="1" dirty="0">
                <a:latin typeface="Century Gothic" panose="020B0502020202020204" pitchFamily="34" charset="0"/>
              </a:rPr>
              <a:t> </a:t>
            </a:r>
            <a:r>
              <a:rPr lang="ru-RU" sz="900" b="1" i="1" dirty="0" err="1">
                <a:latin typeface="Century Gothic" panose="020B0502020202020204" pitchFamily="34" charset="0"/>
              </a:rPr>
              <a:t>анықтау</a:t>
            </a:r>
            <a:endParaRPr lang="ru-RU" sz="900" b="1" i="1" dirty="0">
              <a:latin typeface="Century Gothic" panose="020B0502020202020204" pitchFamily="34" charset="0"/>
            </a:endParaRPr>
          </a:p>
        </p:txBody>
      </p:sp>
      <p:cxnSp>
        <p:nvCxnSpPr>
          <p:cNvPr id="6" name="Прямая со стрелкой 5"/>
          <p:cNvCxnSpPr/>
          <p:nvPr/>
        </p:nvCxnSpPr>
        <p:spPr>
          <a:xfrm>
            <a:off x="6029199" y="2065738"/>
            <a:ext cx="45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Прямоугольник 9"/>
          <p:cNvSpPr/>
          <p:nvPr/>
        </p:nvSpPr>
        <p:spPr>
          <a:xfrm>
            <a:off x="2837906" y="2422492"/>
            <a:ext cx="3065354" cy="31674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9" name="Прямоугольник 18"/>
          <p:cNvSpPr/>
          <p:nvPr/>
        </p:nvSpPr>
        <p:spPr>
          <a:xfrm>
            <a:off x="2834396" y="3147300"/>
            <a:ext cx="3068864" cy="285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1" name="Стрелка вверх 10"/>
          <p:cNvSpPr/>
          <p:nvPr/>
        </p:nvSpPr>
        <p:spPr>
          <a:xfrm>
            <a:off x="114365" y="4365395"/>
            <a:ext cx="368300" cy="50987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2" name="Прямоугольник 11"/>
          <p:cNvSpPr/>
          <p:nvPr/>
        </p:nvSpPr>
        <p:spPr>
          <a:xfrm>
            <a:off x="506841" y="4372449"/>
            <a:ext cx="1467005" cy="6242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3" name="TextBox 12"/>
          <p:cNvSpPr txBox="1"/>
          <p:nvPr/>
        </p:nvSpPr>
        <p:spPr>
          <a:xfrm>
            <a:off x="555194" y="4339432"/>
            <a:ext cx="1607678" cy="715581"/>
          </a:xfrm>
          <a:prstGeom prst="rect">
            <a:avLst/>
          </a:prstGeom>
          <a:noFill/>
        </p:spPr>
        <p:txBody>
          <a:bodyPr wrap="square" rtlCol="0">
            <a:spAutoFit/>
          </a:bodyPr>
          <a:lstStyle/>
          <a:p>
            <a:pPr marL="214313" indent="-214313">
              <a:buFont typeface="Arial" panose="020B0604020202020204" pitchFamily="34" charset="0"/>
              <a:buChar char="•"/>
            </a:pPr>
            <a:r>
              <a:rPr lang="ru-RU" sz="1350" b="1" dirty="0" err="1">
                <a:latin typeface="Century Gothic" panose="020B0502020202020204" pitchFamily="34" charset="0"/>
              </a:rPr>
              <a:t>Арыз-шағымдар</a:t>
            </a:r>
            <a:endParaRPr lang="ru-RU" sz="1350" b="1" dirty="0">
              <a:latin typeface="Century Gothic" panose="020B0502020202020204" pitchFamily="34" charset="0"/>
            </a:endParaRPr>
          </a:p>
          <a:p>
            <a:pPr marL="214313" indent="-214313">
              <a:buFont typeface="Arial" panose="020B0604020202020204" pitchFamily="34" charset="0"/>
              <a:buChar char="•"/>
            </a:pPr>
            <a:r>
              <a:rPr lang="ru-RU" sz="1350" b="1" dirty="0" err="1">
                <a:latin typeface="Century Gothic" panose="020B0502020202020204" pitchFamily="34" charset="0"/>
              </a:rPr>
              <a:t>Өтініштер</a:t>
            </a:r>
            <a:r>
              <a:rPr lang="ru-RU" sz="1350" dirty="0"/>
              <a:t> </a:t>
            </a:r>
          </a:p>
        </p:txBody>
      </p:sp>
      <p:sp>
        <p:nvSpPr>
          <p:cNvPr id="27" name="Прямоугольник 26"/>
          <p:cNvSpPr/>
          <p:nvPr/>
        </p:nvSpPr>
        <p:spPr>
          <a:xfrm>
            <a:off x="2824766" y="3495791"/>
            <a:ext cx="3068864" cy="285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30" name="TextBox 29"/>
          <p:cNvSpPr txBox="1"/>
          <p:nvPr/>
        </p:nvSpPr>
        <p:spPr>
          <a:xfrm>
            <a:off x="6468103" y="3583720"/>
            <a:ext cx="2080266" cy="326762"/>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900" b="1" i="1" dirty="0" err="1">
                <a:latin typeface="Century Gothic" panose="020B0502020202020204" pitchFamily="34" charset="0"/>
              </a:rPr>
              <a:t>Меншік</a:t>
            </a:r>
            <a:r>
              <a:rPr lang="ru-RU" sz="900" b="1" i="1" dirty="0">
                <a:latin typeface="Century Gothic" panose="020B0502020202020204" pitchFamily="34" charset="0"/>
              </a:rPr>
              <a:t> </a:t>
            </a:r>
            <a:r>
              <a:rPr lang="ru-RU" sz="900" b="1" i="1" dirty="0" err="1">
                <a:latin typeface="Century Gothic" panose="020B0502020202020204" pitchFamily="34" charset="0"/>
              </a:rPr>
              <a:t>иелерінің</a:t>
            </a:r>
            <a:r>
              <a:rPr lang="ru-RU" sz="900" b="1" i="1" dirty="0">
                <a:latin typeface="Century Gothic" panose="020B0502020202020204" pitchFamily="34" charset="0"/>
              </a:rPr>
              <a:t> </a:t>
            </a:r>
            <a:r>
              <a:rPr lang="ru-RU" sz="900" b="1" i="1" dirty="0" err="1">
                <a:latin typeface="Century Gothic" panose="020B0502020202020204" pitchFamily="34" charset="0"/>
              </a:rPr>
              <a:t>реестрі</a:t>
            </a:r>
            <a:r>
              <a:rPr lang="ru-RU" sz="900" b="1" i="1" dirty="0">
                <a:latin typeface="Century Gothic" panose="020B0502020202020204" pitchFamily="34" charset="0"/>
              </a:rPr>
              <a:t>  </a:t>
            </a:r>
          </a:p>
          <a:p>
            <a:pPr algn="ctr"/>
            <a:r>
              <a:rPr lang="ru-RU" sz="900" b="1" i="1" dirty="0">
                <a:latin typeface="Century Gothic" panose="020B0502020202020204" pitchFamily="34" charset="0"/>
              </a:rPr>
              <a:t>(ЖТМДҚ </a:t>
            </a:r>
            <a:r>
              <a:rPr lang="ru-RU" sz="900" b="1" i="1" dirty="0" err="1">
                <a:latin typeface="Century Gothic" panose="020B0502020202020204" pitchFamily="34" charset="0"/>
              </a:rPr>
              <a:t>бірігу</a:t>
            </a:r>
            <a:r>
              <a:rPr lang="ru-RU" sz="900" b="1" i="1" dirty="0">
                <a:latin typeface="Century Gothic" panose="020B0502020202020204" pitchFamily="34" charset="0"/>
              </a:rPr>
              <a:t>)</a:t>
            </a:r>
          </a:p>
        </p:txBody>
      </p:sp>
      <p:sp>
        <p:nvSpPr>
          <p:cNvPr id="31" name="Прямоугольник 30"/>
          <p:cNvSpPr/>
          <p:nvPr/>
        </p:nvSpPr>
        <p:spPr>
          <a:xfrm>
            <a:off x="2834396" y="2774664"/>
            <a:ext cx="3068864" cy="285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40" name="TextBox 39"/>
          <p:cNvSpPr txBox="1"/>
          <p:nvPr/>
        </p:nvSpPr>
        <p:spPr>
          <a:xfrm>
            <a:off x="6455402" y="3186566"/>
            <a:ext cx="2080266" cy="326762"/>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900" b="1" i="1" dirty="0" err="1">
                <a:latin typeface="Century Gothic" panose="020B0502020202020204" pitchFamily="34" charset="0"/>
              </a:rPr>
              <a:t>Тұрғын</a:t>
            </a:r>
            <a:r>
              <a:rPr lang="ru-RU" sz="900" b="1" i="1" dirty="0">
                <a:latin typeface="Century Gothic" panose="020B0502020202020204" pitchFamily="34" charset="0"/>
              </a:rPr>
              <a:t> </a:t>
            </a:r>
            <a:r>
              <a:rPr lang="ru-RU" sz="900" b="1" i="1" dirty="0" err="1">
                <a:latin typeface="Century Gothic" panose="020B0502020202020204" pitchFamily="34" charset="0"/>
              </a:rPr>
              <a:t>үй</a:t>
            </a:r>
            <a:r>
              <a:rPr lang="ru-RU" sz="900" b="1" i="1" dirty="0">
                <a:latin typeface="Century Gothic" panose="020B0502020202020204" pitchFamily="34" charset="0"/>
              </a:rPr>
              <a:t> </a:t>
            </a:r>
            <a:r>
              <a:rPr lang="ru-RU" sz="900" b="1" i="1" dirty="0" err="1">
                <a:latin typeface="Century Gothic" panose="020B0502020202020204" pitchFamily="34" charset="0"/>
              </a:rPr>
              <a:t>қорының</a:t>
            </a:r>
            <a:r>
              <a:rPr lang="ru-RU" sz="900" b="1" i="1" dirty="0">
                <a:latin typeface="Century Gothic" panose="020B0502020202020204" pitchFamily="34" charset="0"/>
              </a:rPr>
              <a:t> </a:t>
            </a:r>
            <a:r>
              <a:rPr lang="ru-RU" sz="900" b="1" i="1" dirty="0" err="1">
                <a:latin typeface="Century Gothic" panose="020B0502020202020204" pitchFamily="34" charset="0"/>
              </a:rPr>
              <a:t>мемлекеттік</a:t>
            </a:r>
            <a:r>
              <a:rPr lang="ru-RU" sz="900" b="1" i="1" dirty="0">
                <a:latin typeface="Century Gothic" panose="020B0502020202020204" pitchFamily="34" charset="0"/>
              </a:rPr>
              <a:t> </a:t>
            </a:r>
            <a:r>
              <a:rPr lang="ru-RU" sz="900" b="1" i="1" dirty="0" err="1" smtClean="0">
                <a:latin typeface="Century Gothic" panose="020B0502020202020204" pitchFamily="34" charset="0"/>
              </a:rPr>
              <a:t>дерекқоры</a:t>
            </a:r>
            <a:r>
              <a:rPr lang="ru-RU" sz="900" b="1" i="1" dirty="0" smtClean="0">
                <a:latin typeface="Century Gothic" panose="020B0502020202020204" pitchFamily="34" charset="0"/>
              </a:rPr>
              <a:t> </a:t>
            </a:r>
            <a:endParaRPr lang="ru-RU" sz="900" b="1" i="1" dirty="0">
              <a:latin typeface="Century Gothic" panose="020B0502020202020204" pitchFamily="34" charset="0"/>
            </a:endParaRPr>
          </a:p>
        </p:txBody>
      </p:sp>
      <p:cxnSp>
        <p:nvCxnSpPr>
          <p:cNvPr id="42" name="Прямая со стрелкой 41"/>
          <p:cNvCxnSpPr/>
          <p:nvPr/>
        </p:nvCxnSpPr>
        <p:spPr>
          <a:xfrm>
            <a:off x="2057556" y="5562605"/>
            <a:ext cx="45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Прямоугольник 42"/>
          <p:cNvSpPr/>
          <p:nvPr/>
        </p:nvSpPr>
        <p:spPr>
          <a:xfrm>
            <a:off x="2834396" y="3926225"/>
            <a:ext cx="3068864" cy="285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29" name="TextBox 28"/>
          <p:cNvSpPr txBox="1"/>
          <p:nvPr/>
        </p:nvSpPr>
        <p:spPr>
          <a:xfrm>
            <a:off x="2813974" y="3972178"/>
            <a:ext cx="2712925" cy="219291"/>
          </a:xfrm>
          <a:prstGeom prst="rect">
            <a:avLst/>
          </a:prstGeom>
          <a:noFill/>
        </p:spPr>
        <p:txBody>
          <a:bodyPr wrap="square" rtlCol="0">
            <a:spAutoFit/>
          </a:bodyPr>
          <a:lstStyle/>
          <a:p>
            <a:r>
              <a:rPr lang="kk-KZ" sz="825" b="1" dirty="0">
                <a:latin typeface="Century Gothic" panose="020B0502020202020204" pitchFamily="34" charset="0"/>
              </a:rPr>
              <a:t>ЕСЕПТЕУІШ ҚҰРАЛДАРДЫҢ КӨРСЕТКІШІ </a:t>
            </a:r>
            <a:endParaRPr lang="ru-RU" sz="825" b="1" dirty="0">
              <a:latin typeface="Century Gothic" panose="020B0502020202020204" pitchFamily="34" charset="0"/>
            </a:endParaRPr>
          </a:p>
        </p:txBody>
      </p:sp>
      <p:sp>
        <p:nvSpPr>
          <p:cNvPr id="45" name="TextBox 44"/>
          <p:cNvSpPr txBox="1"/>
          <p:nvPr/>
        </p:nvSpPr>
        <p:spPr>
          <a:xfrm>
            <a:off x="6468103" y="3983041"/>
            <a:ext cx="2080266" cy="326762"/>
          </a:xfrm>
          <a:prstGeom prst="rect">
            <a:avLst/>
          </a:prstGeom>
          <a:solidFill>
            <a:schemeClr val="accent1">
              <a:lumMod val="20000"/>
              <a:lumOff val="80000"/>
            </a:schemeClr>
          </a:solidFill>
          <a:ln w="12700">
            <a:solidFill>
              <a:schemeClr val="accent1">
                <a:lumMod val="40000"/>
                <a:lumOff val="60000"/>
              </a:schemeClr>
            </a:solidFill>
          </a:ln>
        </p:spPr>
        <p:txBody>
          <a:bodyPr wrap="square" rtlCol="0" anchor="ctr" anchorCtr="0">
            <a:noAutofit/>
          </a:bodyPr>
          <a:lstStyle/>
          <a:p>
            <a:pPr algn="ctr"/>
            <a:r>
              <a:rPr lang="ru-RU" sz="900" b="1" i="1" dirty="0" err="1">
                <a:latin typeface="Century Gothic" panose="020B0502020202020204" pitchFamily="34" charset="0"/>
              </a:rPr>
              <a:t>Тұтыну</a:t>
            </a:r>
            <a:r>
              <a:rPr lang="ru-RU" sz="900" b="1" i="1" dirty="0">
                <a:latin typeface="Century Gothic" panose="020B0502020202020204" pitchFamily="34" charset="0"/>
              </a:rPr>
              <a:t> </a:t>
            </a:r>
            <a:r>
              <a:rPr lang="ru-RU" sz="900" b="1" i="1" dirty="0" err="1">
                <a:latin typeface="Century Gothic" panose="020B0502020202020204" pitchFamily="34" charset="0"/>
              </a:rPr>
              <a:t>жөнінде</a:t>
            </a:r>
            <a:r>
              <a:rPr lang="ru-RU" sz="900" b="1" i="1" dirty="0">
                <a:latin typeface="Century Gothic" panose="020B0502020202020204" pitchFamily="34" charset="0"/>
              </a:rPr>
              <a:t> </a:t>
            </a:r>
            <a:r>
              <a:rPr lang="ru-RU" sz="900" b="1" i="1" dirty="0" err="1">
                <a:latin typeface="Century Gothic" panose="020B0502020202020204" pitchFamily="34" charset="0"/>
              </a:rPr>
              <a:t>деректер</a:t>
            </a:r>
            <a:r>
              <a:rPr lang="ru-RU" sz="900" b="1" i="1" dirty="0">
                <a:latin typeface="Century Gothic" panose="020B0502020202020204" pitchFamily="34" charset="0"/>
              </a:rPr>
              <a:t> </a:t>
            </a:r>
          </a:p>
        </p:txBody>
      </p:sp>
      <p:sp>
        <p:nvSpPr>
          <p:cNvPr id="32" name="Прямоугольник 31"/>
          <p:cNvSpPr/>
          <p:nvPr/>
        </p:nvSpPr>
        <p:spPr>
          <a:xfrm>
            <a:off x="0" y="8802"/>
            <a:ext cx="9144000" cy="338554"/>
          </a:xfrm>
          <a:prstGeom prst="rect">
            <a:avLst/>
          </a:prstGeom>
          <a:solidFill>
            <a:srgbClr val="0070C0"/>
          </a:solidFill>
          <a:effectLst/>
        </p:spPr>
        <p:txBody>
          <a:bodyPr wrap="square" lIns="91440" tIns="45720" rIns="91440" bIns="45720">
            <a:spAutoFit/>
          </a:bodyPr>
          <a:lstStyle/>
          <a:p>
            <a:pPr algn="ctr"/>
            <a:r>
              <a:rPr lang="en-US" sz="1600" b="1" dirty="0" smtClean="0">
                <a:ln w="0"/>
                <a:solidFill>
                  <a:prstClr val="white"/>
                </a:solidFill>
                <a:latin typeface="Arial Narrow" pitchFamily="34" charset="0"/>
              </a:rPr>
              <a:t>IV</a:t>
            </a:r>
            <a:r>
              <a:rPr lang="ru-RU" sz="1600" b="1" dirty="0">
                <a:ln w="0"/>
                <a:solidFill>
                  <a:prstClr val="white"/>
                </a:solidFill>
                <a:latin typeface="Arial Narrow" pitchFamily="34" charset="0"/>
              </a:rPr>
              <a:t> </a:t>
            </a:r>
            <a:r>
              <a:rPr lang="ru-RU" sz="1600" b="1" dirty="0" smtClean="0">
                <a:ln w="0"/>
                <a:solidFill>
                  <a:prstClr val="white"/>
                </a:solidFill>
                <a:latin typeface="Arial Narrow" pitchFamily="34" charset="0"/>
              </a:rPr>
              <a:t>– ТҰРҒЫН-ҮЙ ҚОРЫ МЕН ТКШ БІРЫҢҒАЙ АҚПАРАТТЫҚ  ЖҮЙЕСІ</a:t>
            </a:r>
            <a:endParaRPr lang="ru-RU" sz="1600" b="1" dirty="0">
              <a:ln w="0"/>
              <a:solidFill>
                <a:prstClr val="white"/>
              </a:solidFill>
              <a:latin typeface="Arial Narrow" pitchFamily="34" charset="0"/>
            </a:endParaRPr>
          </a:p>
        </p:txBody>
      </p:sp>
      <p:cxnSp>
        <p:nvCxnSpPr>
          <p:cNvPr id="33" name="Прямая со стрелкой 32"/>
          <p:cNvCxnSpPr/>
          <p:nvPr/>
        </p:nvCxnSpPr>
        <p:spPr>
          <a:xfrm>
            <a:off x="6024432" y="2561038"/>
            <a:ext cx="45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Прямая со стрелкой 33"/>
          <p:cNvCxnSpPr/>
          <p:nvPr/>
        </p:nvCxnSpPr>
        <p:spPr>
          <a:xfrm>
            <a:off x="6024428" y="2965853"/>
            <a:ext cx="45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Прямая со стрелкой 35"/>
          <p:cNvCxnSpPr/>
          <p:nvPr/>
        </p:nvCxnSpPr>
        <p:spPr>
          <a:xfrm>
            <a:off x="6019666" y="3337330"/>
            <a:ext cx="45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a:off x="6014908" y="3742155"/>
            <a:ext cx="45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Прямая со стрелкой 37"/>
          <p:cNvCxnSpPr/>
          <p:nvPr/>
        </p:nvCxnSpPr>
        <p:spPr>
          <a:xfrm>
            <a:off x="6019666" y="4146959"/>
            <a:ext cx="4572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Номер слайда 2"/>
          <p:cNvSpPr>
            <a:spLocks noGrp="1"/>
          </p:cNvSpPr>
          <p:nvPr>
            <p:ph type="sldNum" sz="quarter" idx="12"/>
          </p:nvPr>
        </p:nvSpPr>
        <p:spPr>
          <a:xfrm>
            <a:off x="8735154" y="6356351"/>
            <a:ext cx="294546" cy="365125"/>
          </a:xfrm>
        </p:spPr>
        <p:txBody>
          <a:bodyPr/>
          <a:lstStyle/>
          <a:p>
            <a:fld id="{5B7F4A50-1F8C-475C-94C6-2D50DD7E8F1E}" type="slidenum">
              <a:rPr lang="en-US" smtClean="0">
                <a:solidFill>
                  <a:schemeClr val="tx1"/>
                </a:solidFill>
              </a:rPr>
              <a:t>9</a:t>
            </a:fld>
            <a:endParaRPr lang="en-US" dirty="0">
              <a:solidFill>
                <a:schemeClr val="tx1"/>
              </a:solidFill>
            </a:endParaRPr>
          </a:p>
        </p:txBody>
      </p:sp>
    </p:spTree>
    <p:extLst>
      <p:ext uri="{BB962C8B-B14F-4D97-AF65-F5344CB8AC3E}">
        <p14:creationId xmlns:p14="http://schemas.microsoft.com/office/powerpoint/2010/main" val="3692086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1000" fill="hold"/>
                                        <p:tgtEl>
                                          <p:spTgt spid="32"/>
                                        </p:tgtEl>
                                        <p:attrNameLst>
                                          <p:attrName>ppt_w</p:attrName>
                                        </p:attrNameLst>
                                      </p:cBhvr>
                                      <p:tavLst>
                                        <p:tav tm="0">
                                          <p:val>
                                            <p:fltVal val="0"/>
                                          </p:val>
                                        </p:tav>
                                        <p:tav tm="100000">
                                          <p:val>
                                            <p:strVal val="#ppt_w"/>
                                          </p:val>
                                        </p:tav>
                                      </p:tavLst>
                                    </p:anim>
                                    <p:anim calcmode="lin" valueType="num">
                                      <p:cBhvr>
                                        <p:cTn id="8" dur="1000" fill="hold"/>
                                        <p:tgtEl>
                                          <p:spTgt spid="32"/>
                                        </p:tgtEl>
                                        <p:attrNameLst>
                                          <p:attrName>ppt_h</p:attrName>
                                        </p:attrNameLst>
                                      </p:cBhvr>
                                      <p:tavLst>
                                        <p:tav tm="0">
                                          <p:val>
                                            <p:fltVal val="0"/>
                                          </p:val>
                                        </p:tav>
                                        <p:tav tm="100000">
                                          <p:val>
                                            <p:strVal val="#ppt_h"/>
                                          </p:val>
                                        </p:tav>
                                      </p:tavLst>
                                    </p:anim>
                                    <p:animEffect transition="in" filter="fade">
                                      <p:cBhvr>
                                        <p:cTn id="9"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Oval"/>
</p:tagLst>
</file>

<file path=ppt/tags/tag11.xml><?xml version="1.0" encoding="utf-8"?>
<p:tagLst xmlns:a="http://schemas.openxmlformats.org/drawingml/2006/main" xmlns:r="http://schemas.openxmlformats.org/officeDocument/2006/relationships" xmlns:p="http://schemas.openxmlformats.org/presentationml/2006/main">
  <p:tag name="NAME" val="Oval"/>
</p:tagLst>
</file>

<file path=ppt/tags/tag12.xml><?xml version="1.0" encoding="utf-8"?>
<p:tagLst xmlns:a="http://schemas.openxmlformats.org/drawingml/2006/main" xmlns:r="http://schemas.openxmlformats.org/officeDocument/2006/relationships" xmlns:p="http://schemas.openxmlformats.org/presentationml/2006/main">
  <p:tag name="NAME" val="Oval"/>
</p:tagLst>
</file>

<file path=ppt/tags/tag13.xml><?xml version="1.0" encoding="utf-8"?>
<p:tagLst xmlns:a="http://schemas.openxmlformats.org/drawingml/2006/main" xmlns:r="http://schemas.openxmlformats.org/officeDocument/2006/relationships" xmlns:p="http://schemas.openxmlformats.org/presentationml/2006/main">
  <p:tag name="NAME" val="Oval"/>
</p:tagLst>
</file>

<file path=ppt/tags/tag14.xml><?xml version="1.0" encoding="utf-8"?>
<p:tagLst xmlns:a="http://schemas.openxmlformats.org/drawingml/2006/main" xmlns:r="http://schemas.openxmlformats.org/officeDocument/2006/relationships" xmlns:p="http://schemas.openxmlformats.org/presentationml/2006/main">
  <p:tag name="NAME" val="Oval"/>
</p:tagLst>
</file>

<file path=ppt/tags/tag15.xml><?xml version="1.0" encoding="utf-8"?>
<p:tagLst xmlns:a="http://schemas.openxmlformats.org/drawingml/2006/main" xmlns:r="http://schemas.openxmlformats.org/officeDocument/2006/relationships" xmlns:p="http://schemas.openxmlformats.org/presentationml/2006/main">
  <p:tag name="NAME" val="Oval"/>
</p:tagLst>
</file>

<file path=ppt/tags/tag16.xml><?xml version="1.0" encoding="utf-8"?>
<p:tagLst xmlns:a="http://schemas.openxmlformats.org/drawingml/2006/main" xmlns:r="http://schemas.openxmlformats.org/officeDocument/2006/relationships" xmlns:p="http://schemas.openxmlformats.org/presentationml/2006/main">
  <p:tag name="NAME" val="Oval"/>
</p:tagLst>
</file>

<file path=ppt/tags/tag2.xml><?xml version="1.0" encoding="utf-8"?>
<p:tagLst xmlns:a="http://schemas.openxmlformats.org/drawingml/2006/main" xmlns:r="http://schemas.openxmlformats.org/officeDocument/2006/relationships" xmlns:p="http://schemas.openxmlformats.org/presentationml/2006/main">
  <p:tag name="NAME" val="Oval"/>
</p:tagLst>
</file>

<file path=ppt/tags/tag3.xml><?xml version="1.0" encoding="utf-8"?>
<p:tagLst xmlns:a="http://schemas.openxmlformats.org/drawingml/2006/main" xmlns:r="http://schemas.openxmlformats.org/officeDocument/2006/relationships" xmlns:p="http://schemas.openxmlformats.org/presentationml/2006/main">
  <p:tag name="NAME" val="Oval"/>
</p:tagLst>
</file>

<file path=ppt/tags/tag4.xml><?xml version="1.0" encoding="utf-8"?>
<p:tagLst xmlns:a="http://schemas.openxmlformats.org/drawingml/2006/main" xmlns:r="http://schemas.openxmlformats.org/officeDocument/2006/relationships" xmlns:p="http://schemas.openxmlformats.org/presentationml/2006/main">
  <p:tag name="NAME" val="Oval"/>
</p:tagLst>
</file>

<file path=ppt/tags/tag5.xml><?xml version="1.0" encoding="utf-8"?>
<p:tagLst xmlns:a="http://schemas.openxmlformats.org/drawingml/2006/main" xmlns:r="http://schemas.openxmlformats.org/officeDocument/2006/relationships" xmlns:p="http://schemas.openxmlformats.org/presentationml/2006/main">
  <p:tag name="NAME" val="Oval"/>
</p:tagLst>
</file>

<file path=ppt/tags/tag6.xml><?xml version="1.0" encoding="utf-8"?>
<p:tagLst xmlns:a="http://schemas.openxmlformats.org/drawingml/2006/main" xmlns:r="http://schemas.openxmlformats.org/officeDocument/2006/relationships" xmlns:p="http://schemas.openxmlformats.org/presentationml/2006/main">
  <p:tag name="NAME" val="Oval"/>
</p:tagLst>
</file>

<file path=ppt/tags/tag7.xml><?xml version="1.0" encoding="utf-8"?>
<p:tagLst xmlns:a="http://schemas.openxmlformats.org/drawingml/2006/main" xmlns:r="http://schemas.openxmlformats.org/officeDocument/2006/relationships" xmlns:p="http://schemas.openxmlformats.org/presentationml/2006/main">
  <p:tag name="NAME" val="Oval"/>
</p:tagLst>
</file>

<file path=ppt/tags/tag8.xml><?xml version="1.0" encoding="utf-8"?>
<p:tagLst xmlns:a="http://schemas.openxmlformats.org/drawingml/2006/main" xmlns:r="http://schemas.openxmlformats.org/officeDocument/2006/relationships" xmlns:p="http://schemas.openxmlformats.org/presentationml/2006/main">
  <p:tag name="NAME" val="Oval"/>
</p:tagLst>
</file>

<file path=ppt/tags/tag9.xml><?xml version="1.0" encoding="utf-8"?>
<p:tagLst xmlns:a="http://schemas.openxmlformats.org/drawingml/2006/main" xmlns:r="http://schemas.openxmlformats.org/officeDocument/2006/relationships" xmlns:p="http://schemas.openxmlformats.org/presentationml/2006/main">
  <p:tag name="NAME" val="Ov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PresenterMedia.com Animated Theme">
  <a:themeElements>
    <a:clrScheme name="shield_fire">
      <a:dk1>
        <a:sysClr val="windowText" lastClr="000000"/>
      </a:dk1>
      <a:lt1>
        <a:sysClr val="window" lastClr="FFFFFF"/>
      </a:lt1>
      <a:dk2>
        <a:srgbClr val="11118D"/>
      </a:dk2>
      <a:lt2>
        <a:srgbClr val="EEECE1"/>
      </a:lt2>
      <a:accent1>
        <a:srgbClr val="3A96D0"/>
      </a:accent1>
      <a:accent2>
        <a:srgbClr val="F7291E"/>
      </a:accent2>
      <a:accent3>
        <a:srgbClr val="149FBE"/>
      </a:accent3>
      <a:accent4>
        <a:srgbClr val="81BF14"/>
      </a:accent4>
      <a:accent5>
        <a:srgbClr val="FF9933"/>
      </a:accent5>
      <a:accent6>
        <a:srgbClr val="62251F"/>
      </a:accent6>
      <a:hlink>
        <a:srgbClr val="FDFD88"/>
      </a:hlink>
      <a:folHlink>
        <a:srgbClr val="800080"/>
      </a:folHlink>
    </a:clrScheme>
    <a:fontScheme name="reflective ball">
      <a:majorFont>
        <a:latin typeface="Franklin Gothic Heavy"/>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7271</TotalTime>
  <Words>1782</Words>
  <Application>Microsoft Office PowerPoint</Application>
  <PresentationFormat>Экран (4:3)</PresentationFormat>
  <Paragraphs>288</Paragraphs>
  <Slides>15</Slides>
  <Notes>7</Notes>
  <HiddenSlides>0</HiddenSlides>
  <MMClips>0</MMClips>
  <ScaleCrop>false</ScaleCrop>
  <HeadingPairs>
    <vt:vector size="8" baseType="variant">
      <vt:variant>
        <vt:lpstr>Использованные шрифты</vt:lpstr>
      </vt:variant>
      <vt:variant>
        <vt:i4>13</vt:i4>
      </vt:variant>
      <vt:variant>
        <vt:lpstr>Тема</vt:lpstr>
      </vt:variant>
      <vt:variant>
        <vt:i4>4</vt:i4>
      </vt:variant>
      <vt:variant>
        <vt:lpstr>Внедренные серверы OLE</vt:lpstr>
      </vt:variant>
      <vt:variant>
        <vt:i4>1</vt:i4>
      </vt:variant>
      <vt:variant>
        <vt:lpstr>Заголовки слайдов</vt:lpstr>
      </vt:variant>
      <vt:variant>
        <vt:i4>15</vt:i4>
      </vt:variant>
    </vt:vector>
  </HeadingPairs>
  <TitlesOfParts>
    <vt:vector size="33" baseType="lpstr">
      <vt:lpstr>Arial</vt:lpstr>
      <vt:lpstr>Arial KK EK</vt:lpstr>
      <vt:lpstr>Arial Narrow</vt:lpstr>
      <vt:lpstr>Calibri</vt:lpstr>
      <vt:lpstr>Calibri Light</vt:lpstr>
      <vt:lpstr>Century Gothic</vt:lpstr>
      <vt:lpstr>Franklin Gothic Heavy</vt:lpstr>
      <vt:lpstr>Iskoola Pota</vt:lpstr>
      <vt:lpstr>Lato Medium</vt:lpstr>
      <vt:lpstr>Shonar Bangla</vt:lpstr>
      <vt:lpstr>Tahoma</vt:lpstr>
      <vt:lpstr>Times New Roman</vt:lpstr>
      <vt:lpstr>Wingdings</vt:lpstr>
      <vt:lpstr>Office Theme</vt:lpstr>
      <vt:lpstr>1_PresenterMedia.com Animated Theme</vt:lpstr>
      <vt:lpstr>1_Office Theme</vt:lpstr>
      <vt:lpstr>Тема Office</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diakov.ne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i Donia</dc:creator>
  <cp:lastModifiedBy>Аубакирова Бибисара</cp:lastModifiedBy>
  <cp:revision>721</cp:revision>
  <cp:lastPrinted>2018-10-10T06:45:07Z</cp:lastPrinted>
  <dcterms:created xsi:type="dcterms:W3CDTF">2016-10-16T10:12:11Z</dcterms:created>
  <dcterms:modified xsi:type="dcterms:W3CDTF">2018-10-10T06:45:10Z</dcterms:modified>
</cp:coreProperties>
</file>